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1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microsoft.com/office/2006/relationships/ui/userCustomization" Target="userCustomization/customUI.xml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37"/>
  </p:notesMasterIdLst>
  <p:handoutMasterIdLst>
    <p:handoutMasterId r:id="rId38"/>
  </p:handoutMasterIdLst>
  <p:sldIdLst>
    <p:sldId id="288" r:id="rId6"/>
    <p:sldId id="294" r:id="rId7"/>
    <p:sldId id="295" r:id="rId8"/>
    <p:sldId id="297" r:id="rId9"/>
    <p:sldId id="296" r:id="rId10"/>
    <p:sldId id="298" r:id="rId11"/>
    <p:sldId id="300" r:id="rId12"/>
    <p:sldId id="301" r:id="rId13"/>
    <p:sldId id="320" r:id="rId14"/>
    <p:sldId id="302" r:id="rId15"/>
    <p:sldId id="322" r:id="rId16"/>
    <p:sldId id="323" r:id="rId17"/>
    <p:sldId id="324" r:id="rId18"/>
    <p:sldId id="304" r:id="rId19"/>
    <p:sldId id="305" r:id="rId20"/>
    <p:sldId id="306" r:id="rId21"/>
    <p:sldId id="307" r:id="rId22"/>
    <p:sldId id="303" r:id="rId23"/>
    <p:sldId id="308" r:id="rId24"/>
    <p:sldId id="309" r:id="rId25"/>
    <p:sldId id="310" r:id="rId26"/>
    <p:sldId id="311" r:id="rId27"/>
    <p:sldId id="312" r:id="rId28"/>
    <p:sldId id="313" r:id="rId29"/>
    <p:sldId id="314" r:id="rId30"/>
    <p:sldId id="315" r:id="rId31"/>
    <p:sldId id="316" r:id="rId32"/>
    <p:sldId id="317" r:id="rId33"/>
    <p:sldId id="318" r:id="rId34"/>
    <p:sldId id="319" r:id="rId35"/>
    <p:sldId id="291" r:id="rId36"/>
  </p:sldIdLst>
  <p:sldSz cx="12192000" cy="6858000"/>
  <p:notesSz cx="6858000" cy="9144000"/>
  <p:custDataLst>
    <p:tags r:id="rId39"/>
  </p:custDataLst>
  <p:defaultTextStyle>
    <a:defPPr>
      <a:defRPr lang="en-US"/>
    </a:defPPr>
    <a:lvl1pPr marL="0" indent="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Tx/>
      <a:buNone/>
      <a:defRPr sz="1600" kern="1200" baseline="0">
        <a:solidFill>
          <a:schemeClr val="tx1"/>
        </a:solidFill>
        <a:latin typeface="+mn-lt"/>
        <a:ea typeface="+mn-ea"/>
        <a:cs typeface="+mn-cs"/>
      </a:defRPr>
    </a:lvl1pPr>
    <a:lvl2pPr marL="285750" indent="-28575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 typeface="Arial" panose="020B0604020202020204" pitchFamily="34" charset="0"/>
      <a:buChar char="•"/>
      <a:defRPr sz="1400" b="0" kern="1200" baseline="0">
        <a:solidFill>
          <a:schemeClr val="tx1"/>
        </a:solidFill>
        <a:latin typeface="+mn-lt"/>
        <a:ea typeface="+mn-ea"/>
        <a:cs typeface="+mn-cs"/>
      </a:defRPr>
    </a:lvl2pPr>
    <a:lvl3pPr marL="568800" indent="-28440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SzPct val="11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3pPr>
    <a:lvl4pPr marL="853200" indent="-284400" algn="l" defTabSz="374400" rtl="0" eaLnBrk="1" latinLnBrk="0" hangingPunct="1">
      <a:lnSpc>
        <a:spcPct val="100000"/>
      </a:lnSpc>
      <a:spcBef>
        <a:spcPts val="0"/>
      </a:spcBef>
      <a:spcAft>
        <a:spcPts val="300"/>
      </a:spcAft>
      <a:buSzPct val="100000"/>
      <a:buFont typeface="Arial" panose="020B0604020202020204" pitchFamily="34" charset="0"/>
      <a:buChar char="•"/>
      <a:defRPr sz="1100" kern="1200" baseline="0">
        <a:solidFill>
          <a:schemeClr val="tx1"/>
        </a:solidFill>
        <a:latin typeface="+mn-lt"/>
        <a:ea typeface="+mn-ea"/>
        <a:cs typeface="+mn-cs"/>
      </a:defRPr>
    </a:lvl4pPr>
    <a:lvl5pPr marL="11376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SzPct val="90000"/>
      <a:buFont typeface="Arial" panose="020B0604020202020204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5pPr>
    <a:lvl6pPr marL="14220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900" kern="1200" baseline="0">
        <a:solidFill>
          <a:schemeClr val="tx1"/>
        </a:solidFill>
        <a:latin typeface="+mn-lt"/>
        <a:ea typeface="+mn-ea"/>
        <a:cs typeface="+mn-cs"/>
      </a:defRPr>
    </a:lvl6pPr>
    <a:lvl7pPr marL="17064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800" kern="1200" baseline="0">
        <a:solidFill>
          <a:schemeClr val="tx1"/>
        </a:solidFill>
        <a:latin typeface="+mn-lt"/>
        <a:ea typeface="+mn-ea"/>
        <a:cs typeface="+mn-cs"/>
      </a:defRPr>
    </a:lvl7pPr>
    <a:lvl8pPr marL="1990800" indent="-284400" algn="l" defTabSz="374400" rtl="0" eaLnBrk="1" latinLnBrk="0" hangingPunct="1">
      <a:lnSpc>
        <a:spcPct val="100000"/>
      </a:lnSpc>
      <a:spcBef>
        <a:spcPts val="0"/>
      </a:spcBef>
      <a:spcAft>
        <a:spcPts val="100"/>
      </a:spcAft>
      <a:buFont typeface="Arial" panose="020B0604020202020204" pitchFamily="34" charset="0"/>
      <a:buChar char="•"/>
      <a:defRPr sz="700" kern="1200" baseline="0">
        <a:solidFill>
          <a:schemeClr val="tx1"/>
        </a:solidFill>
        <a:latin typeface="+mn-lt"/>
        <a:ea typeface="+mn-ea"/>
        <a:cs typeface="+mn-cs"/>
      </a:defRPr>
    </a:lvl8pPr>
    <a:lvl9pPr marL="0" indent="0" algn="l" defTabSz="374400" rtl="0" eaLnBrk="1" latinLnBrk="0" hangingPunct="1">
      <a:lnSpc>
        <a:spcPct val="100000"/>
      </a:lnSpc>
      <a:spcBef>
        <a:spcPts val="0"/>
      </a:spcBef>
      <a:spcAft>
        <a:spcPts val="600"/>
      </a:spcAft>
      <a:buFontTx/>
      <a:buNone/>
      <a:defRPr sz="1600" b="1" kern="1200" baseline="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im Alexander Türger" initials="TAT" lastIdx="1" clrIdx="0">
    <p:extLst>
      <p:ext uri="{19B8F6BF-5375-455C-9EA6-DF929625EA0E}">
        <p15:presenceInfo xmlns:p15="http://schemas.microsoft.com/office/powerpoint/2012/main" userId="Tim Alexander Türg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9C3EA27-F62A-4711-9548-0198DDF129CE}" v="3" dt="2024-02-26T11:47:58.298"/>
  </p1510:revLst>
</p1510:revInfo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H>
    <a:band1V>
      <a:tcTxStyle/>
      <a:tcStyle>
        <a:tcBdr/>
      </a:tcStyle>
    </a:band1V>
    <a:band2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V>
    <a:lastCol>
      <a:tcTxStyle>
        <a:fontRef idx="minor"/>
        <a:schemeClr val="lt1"/>
      </a:tcTxStyle>
      <a:tcStyle>
        <a:tcBdr/>
        <a:fill>
          <a:solidFill>
            <a:schemeClr val="dk2"/>
          </a:solidFill>
        </a:fill>
      </a:tcStyle>
    </a:lastCol>
    <a:firstCol>
      <a:tcTxStyle/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</a:tcBdr>
        <a:fill>
          <a:solidFill>
            <a:schemeClr val="lt2"/>
          </a:solidFill>
        </a:fill>
      </a:tcStyle>
    </a:firstCol>
    <a:lastRow>
      <a:tcTxStyle b="on">
        <a:fontRef idx="minor"/>
        <a:schemeClr val="lt1"/>
      </a:tcTxStyle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/>
          </a:solidFill>
        </a:fill>
      </a:tcStyle>
    </a:lastRow>
    <a:seCell>
      <a:tcTxStyle b="on">
        <a:fontRef idx="minor"/>
        <a:schemeClr val="lt1"/>
      </a:tcTxStyle>
      <a:tcStyle>
        <a:tcBdr>
          <a:top>
            <a:lnRef idx="1">
              <a:srgbClr val="0089B7"/>
            </a:lnRef>
          </a:top>
          <a:bottom>
            <a:lnRef idx="1">
              <a:srgbClr val="0089B7"/>
            </a:lnRef>
          </a:bottom>
        </a:tcBdr>
        <a:fill>
          <a:solidFill>
            <a:srgbClr val="0089B7"/>
          </a:solidFill>
        </a:fill>
      </a:tcStyle>
    </a:seCell>
    <a:firstRow>
      <a:tcTxStyle b="on">
        <a:fontRef idx="minor"/>
        <a:schemeClr val="dk2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lt1"/>
          </a:solidFill>
        </a:fill>
      </a:tcStyle>
    </a:firstRow>
    <a:neCell>
      <a:tcTxStyle b="on">
        <a:fontRef idx="minor"/>
        <a:schemeClr val="lt1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dk2"/>
          </a:solidFill>
        </a:fill>
      </a:tcStyle>
    </a:neCell>
    <a:nwCell>
      <a:tcTxStyle b="on">
        <a:fontRef idx="minor"/>
        <a:schemeClr val="dk2"/>
      </a:tcTxStyle>
      <a:tcStyle>
        <a:tcBdr>
          <a:top>
            <a:lnRef idx="2">
              <a:schemeClr val="dk2"/>
            </a:lnRef>
          </a:top>
          <a:bottom>
            <a:lnRef idx="1">
              <a:schemeClr val="accent2"/>
            </a:lnRef>
          </a:bottom>
        </a:tcBdr>
        <a:fill>
          <a:solidFill>
            <a:schemeClr val="lt2"/>
          </a:solidFill>
        </a:fill>
      </a:tcStyle>
    </a:nwCell>
  </a:tblStyle>
  <a:tblStyle styleId="{5C22544A-7EE6-4342-B048-85BDC9FD1C3A}" styleName="Medium Style 2 - Accent 1">
    <a:wholeTbl>
      <a:tcTxStyle>
        <a:fontRef idx="minor">
          <a:schemeClr val="dk1"/>
        </a:fontRef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</a:tcStyle>
    </a:wholeTbl>
    <a:band1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rgbClr val="AEB0B3"/>
          </a:solidFill>
        </a:fill>
      </a:tcStyle>
    </a:band1H>
    <a:band2H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H>
    <a:band1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rgbClr val="AEB0B3"/>
          </a:solidFill>
        </a:fill>
      </a:tcStyle>
    </a:band1V>
    <a:band2V>
      <a:tcTxStyle/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dk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l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1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left>
            <a:ln>
              <a:noFill/>
              <a:prstDash/>
              <a:round/>
              <a:headEnd/>
              <a:tailEnd/>
            </a:ln>
          </a:left>
          <a:right>
            <a:ln>
              <a:noFill/>
              <a:prstDash/>
              <a:round/>
              <a:headEnd/>
              <a:tailEnd/>
            </a:ln>
          </a:right>
          <a:top>
            <a:lnRef idx="2">
              <a:schemeClr val="lt1"/>
            </a:lnRef>
          </a:top>
          <a:bottom>
            <a:lnRef idx="1">
              <a:schemeClr val="lt1"/>
            </a:lnRef>
          </a:bottom>
          <a:insideH>
            <a:lnRef idx="1">
              <a:schemeClr val="lt1"/>
            </a:lnRef>
          </a:insideH>
          <a:insideV>
            <a:ln>
              <a:noFill/>
              <a:prstDash/>
              <a:round/>
              <a:headEnd/>
              <a:tailEnd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3600"/>
  </p:normalViewPr>
  <p:slideViewPr>
    <p:cSldViewPr showGuides="1">
      <p:cViewPr varScale="1">
        <p:scale>
          <a:sx n="109" d="100"/>
          <a:sy n="109" d="100"/>
        </p:scale>
        <p:origin x="558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394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gs" Target="tags/tag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handoutMaster" Target="handoutMasters/handoutMaster1.xml"/><Relationship Id="rId20" Type="http://schemas.openxmlformats.org/officeDocument/2006/relationships/slide" Target="slides/slide15.xml"/><Relationship Id="rId41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29D2421-AB76-43CF-AC87-27381149982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80600" y="219600"/>
            <a:ext cx="4161046" cy="494775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pPr>
              <a:lnSpc>
                <a:spcPct val="100000"/>
              </a:lnSpc>
            </a:pPr>
            <a:r>
              <a:rPr lang="en-US" sz="1600" b="1" dirty="0">
                <a:solidFill>
                  <a:schemeClr val="tx2"/>
                </a:solidFill>
              </a:rPr>
              <a:t>Use native PPT "Header and Footer" to set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E805F7-C6DC-49D0-9E5F-8126FB8424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411800" y="8784000"/>
            <a:ext cx="14742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6C32FB06-AC8D-42CB-BC9C-84B9A863515E}" type="datetime4">
              <a:rPr lang="en-US" sz="1000">
                <a:solidFill>
                  <a:schemeClr val="tx2"/>
                </a:solidFill>
              </a:rPr>
              <a:t>March 25, 2024</a:t>
            </a:fld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C73045-617B-4A11-BFAF-AA37B3D6548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79424" y="8784000"/>
            <a:ext cx="3885576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1000" dirty="0">
                <a:solidFill>
                  <a:schemeClr val="tx2"/>
                </a:solidFill>
              </a:rPr>
              <a:t>Use native PPT "Header and Footer" to set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7C48BB-715D-460B-AE69-64ECBA4560E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56200" y="8784000"/>
            <a:ext cx="51445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0C0E4CA2-648C-49DE-8FF3-D303AA8895AF}" type="slidenum">
              <a:rPr lang="en-US" sz="1000">
                <a:solidFill>
                  <a:schemeClr val="tx2"/>
                </a:solidFill>
              </a:rPr>
              <a:t>‹#›</a:t>
            </a:fld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DF1EABAE-662D-4DE0-A7DF-B858E601D1A0}"/>
              </a:ext>
            </a:extLst>
          </p:cNvPr>
          <p:cNvSpPr/>
          <p:nvPr/>
        </p:nvSpPr>
        <p:spPr bwMode="black">
          <a:xfrm>
            <a:off x="5143038" y="266400"/>
            <a:ext cx="1336044" cy="374400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A0B4081-D4BA-4211-87D8-80B8B3557A4D}"/>
              </a:ext>
            </a:extLst>
          </p:cNvPr>
          <p:cNvCxnSpPr/>
          <p:nvPr/>
        </p:nvCxnSpPr>
        <p:spPr>
          <a:xfrm>
            <a:off x="3708400" y="1202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2E7DC72-6FC6-4647-ACF2-463663CF2E4E}"/>
              </a:ext>
            </a:extLst>
          </p:cNvPr>
          <p:cNvCxnSpPr/>
          <p:nvPr/>
        </p:nvCxnSpPr>
        <p:spPr>
          <a:xfrm>
            <a:off x="3709800" y="1576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C044078-D5C4-4E7B-969B-FB66F75C3DE1}"/>
              </a:ext>
            </a:extLst>
          </p:cNvPr>
          <p:cNvCxnSpPr/>
          <p:nvPr/>
        </p:nvCxnSpPr>
        <p:spPr>
          <a:xfrm>
            <a:off x="3711200" y="1951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5DC23E9-A2BA-4714-A207-D8690B38D557}"/>
              </a:ext>
            </a:extLst>
          </p:cNvPr>
          <p:cNvCxnSpPr/>
          <p:nvPr/>
        </p:nvCxnSpPr>
        <p:spPr>
          <a:xfrm>
            <a:off x="3712600" y="2325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8AF2E7B-0AF5-4F2F-9205-5E02AC1DAD99}"/>
              </a:ext>
            </a:extLst>
          </p:cNvPr>
          <p:cNvCxnSpPr/>
          <p:nvPr/>
        </p:nvCxnSpPr>
        <p:spPr>
          <a:xfrm>
            <a:off x="3714000" y="2700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2EC744A-4121-4C71-91A5-5E700EC64304}"/>
              </a:ext>
            </a:extLst>
          </p:cNvPr>
          <p:cNvCxnSpPr/>
          <p:nvPr/>
        </p:nvCxnSpPr>
        <p:spPr>
          <a:xfrm>
            <a:off x="3709800" y="3823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4944704-4FD1-4401-A330-AADD3A0C08F2}"/>
              </a:ext>
            </a:extLst>
          </p:cNvPr>
          <p:cNvCxnSpPr/>
          <p:nvPr/>
        </p:nvCxnSpPr>
        <p:spPr>
          <a:xfrm>
            <a:off x="3711200" y="4197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012487B-2DE2-43EA-8D41-96F4DEB08174}"/>
              </a:ext>
            </a:extLst>
          </p:cNvPr>
          <p:cNvCxnSpPr/>
          <p:nvPr/>
        </p:nvCxnSpPr>
        <p:spPr>
          <a:xfrm>
            <a:off x="3712600" y="4572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06F7128-78F2-45F8-9E03-48A2660DB51B}"/>
              </a:ext>
            </a:extLst>
          </p:cNvPr>
          <p:cNvCxnSpPr/>
          <p:nvPr/>
        </p:nvCxnSpPr>
        <p:spPr>
          <a:xfrm>
            <a:off x="3714000" y="4946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E40C1F6-B2AE-409F-AD66-C53E4523F66F}"/>
              </a:ext>
            </a:extLst>
          </p:cNvPr>
          <p:cNvCxnSpPr/>
          <p:nvPr/>
        </p:nvCxnSpPr>
        <p:spPr>
          <a:xfrm>
            <a:off x="3715400" y="5320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42B8729-F7A1-4248-BF81-C8AB3EE3A033}"/>
              </a:ext>
            </a:extLst>
          </p:cNvPr>
          <p:cNvCxnSpPr/>
          <p:nvPr/>
        </p:nvCxnSpPr>
        <p:spPr>
          <a:xfrm>
            <a:off x="3711200" y="64908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33C7F4F-7F8C-4F62-9A09-25026FF2A3E2}"/>
              </a:ext>
            </a:extLst>
          </p:cNvPr>
          <p:cNvCxnSpPr/>
          <p:nvPr/>
        </p:nvCxnSpPr>
        <p:spPr>
          <a:xfrm>
            <a:off x="3712600" y="68652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62C309B-3ECE-4651-8116-DC625F384BDB}"/>
              </a:ext>
            </a:extLst>
          </p:cNvPr>
          <p:cNvCxnSpPr/>
          <p:nvPr/>
        </p:nvCxnSpPr>
        <p:spPr>
          <a:xfrm>
            <a:off x="3714000" y="72396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43AB9DE-F441-4F49-B095-AEC2B93DEF13}"/>
              </a:ext>
            </a:extLst>
          </p:cNvPr>
          <p:cNvCxnSpPr/>
          <p:nvPr/>
        </p:nvCxnSpPr>
        <p:spPr>
          <a:xfrm>
            <a:off x="3715400" y="76140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0A52033-48AE-4CC3-B03B-36827517010D}"/>
              </a:ext>
            </a:extLst>
          </p:cNvPr>
          <p:cNvCxnSpPr/>
          <p:nvPr/>
        </p:nvCxnSpPr>
        <p:spPr>
          <a:xfrm>
            <a:off x="3716800" y="7988400"/>
            <a:ext cx="27622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6589459"/>
      </p:ext>
    </p:extLst>
  </p:cSld>
  <p:clrMap bg1="lt1" tx1="dk1" bg2="lt2" tx2="dk2" accent1="accent1" accent2="accent2" accent3="accent3" accent4="accent4" accent5="accent5" accent6="accent6" hlink="hlink" folHlink="folHlink"/>
  <p:hf/>
  <p:extLst>
    <p:ext uri="{56416CCD-93CA-4268-BC5B-53C4BB910035}">
      <p15:sldGuideLst xmlns:p15="http://schemas.microsoft.com/office/powerpoint/2012/main">
        <p15:guide id="1" pos="4076" userDrawn="1">
          <p15:clr>
            <a:srgbClr val="547EBF"/>
          </p15:clr>
        </p15:guide>
        <p15:guide id="2" orient="horz" pos="450" userDrawn="1">
          <p15:clr>
            <a:srgbClr val="547EBF"/>
          </p15:clr>
        </p15:guide>
        <p15:guide id="3" pos="302" userDrawn="1">
          <p15:clr>
            <a:srgbClr val="547EBF"/>
          </p15:clr>
        </p15:guide>
        <p15:guide id="4" orient="horz" pos="126" userDrawn="1">
          <p15:clr>
            <a:srgbClr val="547EBF"/>
          </p15:clr>
        </p15:guide>
        <p15:guide id="5" pos="2071" userDrawn="1">
          <p15:clr>
            <a:srgbClr val="547EBF"/>
          </p15:clr>
        </p15:guide>
        <p15:guide id="6" pos="2336" userDrawn="1">
          <p15:clr>
            <a:srgbClr val="547EBF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9424" y="172800"/>
            <a:ext cx="4587575" cy="495537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lnSpc>
                <a:spcPct val="100000"/>
              </a:lnSpc>
              <a:defRPr sz="1600" b="1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318200" y="8737200"/>
            <a:ext cx="1684800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fld id="{2658EC27-0245-4AF2-B202-B3DBFC05E02B}" type="datetime4">
              <a:rPr lang="en-US"/>
              <a:t>March 25, 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0600" y="1041400"/>
            <a:ext cx="5990050" cy="336940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79425" y="4598988"/>
            <a:ext cx="5991225" cy="371701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8"/>
            <a:r>
              <a:rPr lang="en-US" dirty="0"/>
              <a:t>	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79425" y="8737200"/>
            <a:ext cx="3838774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003000" y="8737200"/>
            <a:ext cx="467651" cy="23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 baseline="0">
                <a:solidFill>
                  <a:schemeClr val="tx2"/>
                </a:solidFill>
                <a:latin typeface="+mn-lt"/>
              </a:defRPr>
            </a:lvl1pPr>
          </a:lstStyle>
          <a:p>
            <a:fld id="{129D5E52-2129-4526-A67E-44A5DCA639D6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30DDDF2A-A7C0-45C4-9158-4A0DE292D298}"/>
              </a:ext>
            </a:extLst>
          </p:cNvPr>
          <p:cNvSpPr/>
          <p:nvPr/>
        </p:nvSpPr>
        <p:spPr bwMode="black">
          <a:xfrm>
            <a:off x="5143038" y="219600"/>
            <a:ext cx="1336044" cy="374400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1200" b="1" baseline="0" dirty="0">
              <a:solidFill>
                <a:schemeClr val="tx2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068119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374400" rtl="0" eaLnBrk="1" latinLnBrk="0" hangingPunct="1">
      <a:lnSpc>
        <a:spcPct val="105000"/>
      </a:lnSpc>
      <a:spcAft>
        <a:spcPts val="737"/>
      </a:spcAft>
      <a:defRPr sz="1200" kern="1200" baseline="0">
        <a:solidFill>
          <a:schemeClr val="tx1"/>
        </a:solidFill>
        <a:latin typeface="+mn-lt"/>
        <a:ea typeface="+mn-ea"/>
        <a:cs typeface="+mn-cs"/>
      </a:defRPr>
    </a:lvl1pPr>
    <a:lvl2pPr marL="0" algn="l" defTabSz="374400" rtl="0" eaLnBrk="1" latinLnBrk="0" hangingPunct="1">
      <a:lnSpc>
        <a:spcPct val="105000"/>
      </a:lnSpc>
      <a:spcAft>
        <a:spcPts val="737"/>
      </a:spcAft>
      <a:defRPr sz="1200" b="1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234000" indent="-234000" algn="l" defTabSz="374400" rtl="0" eaLnBrk="1" latinLnBrk="0" hangingPunct="1">
      <a:lnSpc>
        <a:spcPct val="105000"/>
      </a:lnSpc>
      <a:spcAft>
        <a:spcPts val="737"/>
      </a:spcAft>
      <a:buSzPct val="11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468000" indent="-234000" algn="l" defTabSz="374400" rtl="0" eaLnBrk="1" latinLnBrk="0" hangingPunct="1">
      <a:lnSpc>
        <a:spcPct val="105000"/>
      </a:lnSpc>
      <a:spcAft>
        <a:spcPts val="737"/>
      </a:spcAft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702000" indent="-234000" algn="l" defTabSz="374400" rtl="0" eaLnBrk="1" latinLnBrk="0" hangingPunct="1">
      <a:lnSpc>
        <a:spcPct val="105000"/>
      </a:lnSpc>
      <a:spcAft>
        <a:spcPts val="737"/>
      </a:spcAft>
      <a:buSzPct val="90000"/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34000" indent="-234000" algn="l" defTabSz="374400" rtl="0" eaLnBrk="1" latinLnBrk="0" hangingPunct="1">
      <a:lnSpc>
        <a:spcPct val="105000"/>
      </a:lnSpc>
      <a:spcAft>
        <a:spcPts val="737"/>
      </a:spcAft>
      <a:buFont typeface="+mj-lt"/>
      <a:buAutoNum type="arabicPeriod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468000" indent="-234000" algn="l" defTabSz="374400" rtl="0" eaLnBrk="1" latinLnBrk="0" hangingPunct="1">
      <a:lnSpc>
        <a:spcPct val="105000"/>
      </a:lnSpc>
      <a:spcAft>
        <a:spcPts val="737"/>
      </a:spcAft>
      <a:buFont typeface="+mj-lt"/>
      <a:buAutoNum type="romanLcPeriod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0" algn="l" defTabSz="374400" rtl="0" eaLnBrk="1" latinLnBrk="0" hangingPunct="1">
      <a:lnSpc>
        <a:spcPct val="105000"/>
      </a:lnSpc>
      <a:spcAft>
        <a:spcPts val="737"/>
      </a:spcAft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0" algn="l" defTabSz="914400" rtl="0" eaLnBrk="1" latinLnBrk="0" hangingPunct="1">
      <a:lnSpc>
        <a:spcPct val="105000"/>
      </a:lnSpc>
      <a:spcAft>
        <a:spcPts val="737"/>
      </a:spcAft>
      <a:defRPr sz="10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4076" userDrawn="1">
          <p15:clr>
            <a:srgbClr val="547EBF"/>
          </p15:clr>
        </p15:guide>
        <p15:guide id="2" orient="horz" pos="421" userDrawn="1">
          <p15:clr>
            <a:srgbClr val="547EBF"/>
          </p15:clr>
        </p15:guide>
        <p15:guide id="3" pos="302" userDrawn="1">
          <p15:clr>
            <a:srgbClr val="547EBF"/>
          </p15:clr>
        </p15:guide>
        <p15:guide id="4" orient="horz" pos="96" userDrawn="1">
          <p15:clr>
            <a:srgbClr val="547EBF"/>
          </p15:clr>
        </p15:guide>
        <p15:guide id="5" orient="horz" pos="2779" userDrawn="1">
          <p15:clr>
            <a:srgbClr val="547EBF"/>
          </p15:clr>
        </p15:guide>
        <p15:guide id="7" orient="horz" pos="656" userDrawn="1">
          <p15:clr>
            <a:srgbClr val="547EBF"/>
          </p15:clr>
        </p15:guide>
        <p15:guide id="8" orient="horz" pos="2897" userDrawn="1">
          <p15:clr>
            <a:srgbClr val="547EBF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A13A0D2-6E67-4944-A01A-B099FC8B9EE8}" type="datetime4">
              <a:rPr lang="en-US"/>
              <a:t>March 25, 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8839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1041400"/>
            <a:ext cx="5989637" cy="3368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Use native PPT "Header and Footer" to set hea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224504F-C231-4292-97DB-1D294A4D17CF}" type="datetime4">
              <a:rPr lang="en-US"/>
              <a:t>March 25, 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Use native PPT "Header and Footer" to set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9D5E52-2129-4526-A67E-44A5DCA639D6}" type="slidenum">
              <a:rPr lang="en-US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57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 preserve="1">
  <p:cSld name="Title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8" name="Hide background Logo">
            <a:extLst>
              <a:ext uri="{FF2B5EF4-FFF2-40B4-BE49-F238E27FC236}">
                <a16:creationId xmlns:a16="http://schemas.microsoft.com/office/drawing/2014/main" id="{CD7E7ADD-A5EE-4293-9821-A81FD429DCCC}"/>
              </a:ext>
            </a:extLst>
          </p:cNvPr>
          <p:cNvSpPr/>
          <p:nvPr/>
        </p:nvSpPr>
        <p:spPr>
          <a:xfrm>
            <a:off x="2928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4F6A1DCD-AFA3-44B1-BB26-956115725CC6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4505325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63DDB710-0227-4EAB-8159-7458BF5EFB73}" type="datetime4">
              <a:rPr lang="en-US"/>
              <a:pPr/>
              <a:t>March 25, 2024</a:t>
            </a:fld>
            <a:endParaRPr lang="en-US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 dirty="0"/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>
            <a:off x="-525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900A1DFC-F57B-4770-90BD-038EC73C411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Picture Placeholder (P41)">
            <a:extLst>
              <a:ext uri="{FF2B5EF4-FFF2-40B4-BE49-F238E27FC236}">
                <a16:creationId xmlns:a16="http://schemas.microsoft.com/office/drawing/2014/main" id="{D463EF9F-EC08-4F41-95E7-7BC682D3D8E8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136750 w 12192000"/>
              <a:gd name="connsiteY0" fmla="*/ 5113800 h 6858000"/>
              <a:gd name="connsiteX1" fmla="*/ 4364400 w 12192000"/>
              <a:gd name="connsiteY1" fmla="*/ 5113800 h 6858000"/>
              <a:gd name="connsiteX2" fmla="*/ 12192000 w 12192000"/>
              <a:gd name="connsiteY2" fmla="*/ 5113800 h 6858000"/>
              <a:gd name="connsiteX3" fmla="*/ 12192000 w 12192000"/>
              <a:gd name="connsiteY3" fmla="*/ 6858000 h 6858000"/>
              <a:gd name="connsiteX4" fmla="*/ 4136750 w 12192000"/>
              <a:gd name="connsiteY4" fmla="*/ 6858000 h 6858000"/>
              <a:gd name="connsiteX5" fmla="*/ 0 w 12192000"/>
              <a:gd name="connsiteY5" fmla="*/ 5113800 h 6858000"/>
              <a:gd name="connsiteX6" fmla="*/ 4130400 w 12192000"/>
              <a:gd name="connsiteY6" fmla="*/ 5113800 h 6858000"/>
              <a:gd name="connsiteX7" fmla="*/ 4130400 w 12192000"/>
              <a:gd name="connsiteY7" fmla="*/ 6858000 h 6858000"/>
              <a:gd name="connsiteX8" fmla="*/ 0 w 12192000"/>
              <a:gd name="connsiteY8" fmla="*/ 6858000 h 6858000"/>
              <a:gd name="connsiteX9" fmla="*/ 0 w 12192000"/>
              <a:gd name="connsiteY9" fmla="*/ 0 h 6858000"/>
              <a:gd name="connsiteX10" fmla="*/ 4130400 w 12192000"/>
              <a:gd name="connsiteY10" fmla="*/ 0 h 6858000"/>
              <a:gd name="connsiteX11" fmla="*/ 4130400 w 12192000"/>
              <a:gd name="connsiteY11" fmla="*/ 5067000 h 6858000"/>
              <a:gd name="connsiteX12" fmla="*/ 4130400 w 12192000"/>
              <a:gd name="connsiteY12" fmla="*/ 5107450 h 6858000"/>
              <a:gd name="connsiteX13" fmla="*/ 0 w 12192000"/>
              <a:gd name="connsiteY13" fmla="*/ 51074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4136750" y="5113800"/>
                </a:moveTo>
                <a:lnTo>
                  <a:pt x="4364400" y="5113800"/>
                </a:lnTo>
                <a:lnTo>
                  <a:pt x="12192000" y="5113800"/>
                </a:lnTo>
                <a:lnTo>
                  <a:pt x="12192000" y="6858000"/>
                </a:lnTo>
                <a:lnTo>
                  <a:pt x="4136750" y="6858000"/>
                </a:lnTo>
                <a:close/>
                <a:moveTo>
                  <a:pt x="0" y="5113800"/>
                </a:moveTo>
                <a:lnTo>
                  <a:pt x="4130400" y="5113800"/>
                </a:lnTo>
                <a:lnTo>
                  <a:pt x="4130400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130400" y="0"/>
                </a:lnTo>
                <a:lnTo>
                  <a:pt x="4130400" y="5067000"/>
                </a:lnTo>
                <a:lnTo>
                  <a:pt x="4130400" y="5107450"/>
                </a:lnTo>
                <a:lnTo>
                  <a:pt x="0" y="5107450"/>
                </a:lnTo>
                <a:close/>
              </a:path>
            </a:pathLst>
          </a:custGeom>
          <a:noFill/>
        </p:spPr>
        <p:txBody>
          <a:bodyPr wrap="square" lIns="396000" rIns="396000" bIns="468000" anchor="ctr" anchorCtr="0">
            <a:noAutofit/>
          </a:bodyPr>
          <a:lstStyle>
            <a:lvl1pPr algn="l"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area to add pictur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0CA825D8-8A74-4D85-9E5D-DA0C5C57A3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5325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B79FE9FA-B090-40ED-A66C-FC46A2929F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MIO_AGENDA_IGNORE_NAVIGATION" hidden="1">
            <a:extLst>
              <a:ext uri="{FF2B5EF4-FFF2-40B4-BE49-F238E27FC236}">
                <a16:creationId xmlns:a16="http://schemas.microsoft.com/office/drawing/2014/main" id="{287EF10B-E93F-4F89-9FB3-1A347169686C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8" name="MIO_AGENDA_IGNORE_CHAPTER_REFERENCE" hidden="1">
            <a:extLst>
              <a:ext uri="{FF2B5EF4-FFF2-40B4-BE49-F238E27FC236}">
                <a16:creationId xmlns:a16="http://schemas.microsoft.com/office/drawing/2014/main" id="{C4F5FA7D-3698-4E1D-9882-6F3C343465A7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Firstname Lastname">
            <a:extLst>
              <a:ext uri="{FF2B5EF4-FFF2-40B4-BE49-F238E27FC236}">
                <a16:creationId xmlns:a16="http://schemas.microsoft.com/office/drawing/2014/main" id="{44F94BEC-5FEE-4E23-9B49-21A45B711E9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04799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14" name="Position and Title">
            <a:extLst>
              <a:ext uri="{FF2B5EF4-FFF2-40B4-BE49-F238E27FC236}">
                <a16:creationId xmlns:a16="http://schemas.microsoft.com/office/drawing/2014/main" id="{AF3DCBE4-97FE-41EF-8901-C12C7A998A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504799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6" name="Location">
            <a:extLst>
              <a:ext uri="{FF2B5EF4-FFF2-40B4-BE49-F238E27FC236}">
                <a16:creationId xmlns:a16="http://schemas.microsoft.com/office/drawing/2014/main" id="{65FC8929-EAC1-44D3-88E2-9306D0D4B23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504799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18" name="Version">
            <a:extLst>
              <a:ext uri="{FF2B5EF4-FFF2-40B4-BE49-F238E27FC236}">
                <a16:creationId xmlns:a16="http://schemas.microsoft.com/office/drawing/2014/main" id="{A1534518-BDDC-41CB-B717-67772836121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04799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24144095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pos="6523">
          <p15:clr>
            <a:srgbClr val="FFFFFF"/>
          </p15:clr>
        </p15:guide>
        <p15:guide id="4" orient="horz" pos="1570">
          <p15:clr>
            <a:srgbClr val="FFFFFF"/>
          </p15:clr>
        </p15:guide>
        <p15:guide id="5" orient="horz" pos="1806">
          <p15:clr>
            <a:srgbClr val="FFFF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" type="fourObj" preserve="1">
  <p:cSld name="Title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 left">
            <a:extLst>
              <a:ext uri="{FF2B5EF4-FFF2-40B4-BE49-F238E27FC236}">
                <a16:creationId xmlns:a16="http://schemas.microsoft.com/office/drawing/2014/main" id="{68997374-0D38-4532-8506-0877E5D1F9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2433000" cy="4680163"/>
          </a:xfrm>
        </p:spPr>
        <p:txBody>
          <a:bodyPr/>
          <a:lstStyle>
            <a:lvl1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2pPr>
            <a:lvl3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 sz="1000" baseline="0"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5pPr>
            <a:lvl6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6pPr>
            <a:lvl7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 baseline="0"/>
            </a:lvl7pPr>
            <a:lvl8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/>
            </a:lvl8pPr>
            <a:lvl9pPr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center left">
            <a:extLst>
              <a:ext uri="{FF2B5EF4-FFF2-40B4-BE49-F238E27FC236}">
                <a16:creationId xmlns:a16="http://schemas.microsoft.com/office/drawing/2014/main" id="{40E6EFB6-C485-43AC-8071-33FD8D38BC7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369799"/>
            <a:ext cx="2433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center right">
            <a:extLst>
              <a:ext uri="{FF2B5EF4-FFF2-40B4-BE49-F238E27FC236}">
                <a16:creationId xmlns:a16="http://schemas.microsoft.com/office/drawing/2014/main" id="{F07FD752-F5AE-44F3-9E78-BAE50FECB03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369799"/>
            <a:ext cx="243357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right">
            <a:extLst>
              <a:ext uri="{FF2B5EF4-FFF2-40B4-BE49-F238E27FC236}">
                <a16:creationId xmlns:a16="http://schemas.microsoft.com/office/drawing/2014/main" id="{11103353-C967-4B83-BF3B-88CA81C9603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369799"/>
            <a:ext cx="2433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6C5AA7-4333-4ADE-B698-06D17EAFF7DF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DC0EA7D-56F1-4A2B-89B2-9444DEF1AFC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BC7595-36F8-47CD-9313-F7DD7933BC5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92EC2A-38E8-46A0-A721-6659543C2ECF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939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  <p15:guide id="9" pos="5550">
          <p15:clr>
            <a:srgbClr val="547EBF"/>
          </p15:clr>
        </p15:guide>
        <p15:guide id="10" pos="5314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Header" type="txOverObj" preserve="1">
  <p:cSld name="Title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lang="en-US" baseline="0" dirty="0">
                <a:solidFill>
                  <a:schemeClr val="accent1"/>
                </a:solidFill>
              </a:defRPr>
            </a:lvl2pPr>
            <a:lvl3pPr>
              <a:defRPr lang="en-US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baseline="0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baseline="0" dirty="0">
                <a:solidFill>
                  <a:schemeClr val="accent1"/>
                </a:solidFill>
              </a:defRPr>
            </a:lvl7pPr>
            <a:lvl8pPr>
              <a:defRPr lang="en-US" baseline="0" dirty="0">
                <a:solidFill>
                  <a:schemeClr val="accent1"/>
                </a:solidFill>
              </a:defRPr>
            </a:lvl8pPr>
            <a:lvl9pPr>
              <a:defRPr lang="en-US" baseline="0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" hidden="1">
            <a:extLst>
              <a:ext uri="{FF2B5EF4-FFF2-40B4-BE49-F238E27FC236}">
                <a16:creationId xmlns:a16="http://schemas.microsoft.com/office/drawing/2014/main" id="{F39CDF36-8584-474A-A340-2CF19A90EF6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5763" y="1838326"/>
            <a:ext cx="10857863" cy="4211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6F9F72-D473-4FF0-B534-697B037CAB9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3A683AB-5A04-4495-8F42-C4AB3BB4E0B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F3986B-5EC8-441C-8101-40A5B761494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8A1E49-F2C9-4BC4-B87C-E6B6AD4C516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98378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Headers" type="twoTxTwoObj" preserve="1">
  <p:cSld name="Title 2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5242237" cy="280988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left">
            <a:extLst>
              <a:ext uri="{FF2B5EF4-FFF2-40B4-BE49-F238E27FC236}">
                <a16:creationId xmlns:a16="http://schemas.microsoft.com/office/drawing/2014/main" id="{66ADD6CF-E96E-40D4-888D-AEC6A7B689C7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5241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right">
            <a:extLst>
              <a:ext uri="{FF2B5EF4-FFF2-40B4-BE49-F238E27FC236}">
                <a16:creationId xmlns:a16="http://schemas.microsoft.com/office/drawing/2014/main" id="{E1B13DFC-B01F-469C-B65F-D2F36871231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838325"/>
            <a:ext cx="5241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753840-5CF9-42CC-B75A-73C48DC2F7C1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B9BDC80F-B4C1-44FE-ACB2-6206973AA8E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8F75E6-E90D-4A29-855E-060F8C52029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CCE0EC-DF6D-4A71-AB27-210BB010718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1208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040">
          <p15:clr>
            <a:srgbClr val="547EBF"/>
          </p15:clr>
        </p15:guide>
        <p15:guide id="7" orient="horz" pos="1158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545">
          <p15:clr>
            <a:srgbClr val="547EBF"/>
          </p15:clr>
        </p15:guide>
        <p15:guide id="11" pos="3781">
          <p15:clr>
            <a:srgbClr val="547EBF"/>
          </p15:clr>
        </p15:guide>
        <p15:guide id="12" pos="7083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Headers" preserve="1">
  <p:cSld name="Title 3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280988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280987"/>
          </a:xfrm>
        </p:spPr>
        <p:txBody>
          <a:bodyPr/>
          <a:lstStyle>
            <a:lvl1pPr>
              <a:defRPr b="0"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left">
            <a:extLst>
              <a:ext uri="{FF2B5EF4-FFF2-40B4-BE49-F238E27FC236}">
                <a16:creationId xmlns:a16="http://schemas.microsoft.com/office/drawing/2014/main" id="{80B9EEE4-A50E-45E6-90B7-A6DF93D7D7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838325"/>
            <a:ext cx="336962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center">
            <a:extLst>
              <a:ext uri="{FF2B5EF4-FFF2-40B4-BE49-F238E27FC236}">
                <a16:creationId xmlns:a16="http://schemas.microsoft.com/office/drawing/2014/main" id="{6198751F-5038-4C04-BB4F-3E8723C1B29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838325"/>
            <a:ext cx="336895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right">
            <a:extLst>
              <a:ext uri="{FF2B5EF4-FFF2-40B4-BE49-F238E27FC236}">
                <a16:creationId xmlns:a16="http://schemas.microsoft.com/office/drawing/2014/main" id="{491A289C-2085-4668-9581-ADDF1084BBEE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838325"/>
            <a:ext cx="3369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572EF5-53AC-4B89-8142-90BB2ABE7316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845B5099-DAA5-4374-A8EF-055ECA9C9DD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FEE9EC-14C8-490D-AD5C-42C125A1E4E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57346F-2946-4C35-8684-4782DA545403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45537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2366">
          <p15:clr>
            <a:srgbClr val="547EBF"/>
          </p15:clr>
        </p15:guide>
        <p15:guide id="12" pos="2602">
          <p15:clr>
            <a:srgbClr val="547EBF"/>
          </p15:clr>
        </p15:guide>
        <p15:guide id="13" pos="4724">
          <p15:clr>
            <a:srgbClr val="547EBF"/>
          </p15:clr>
        </p15:guide>
        <p15:guide id="14" pos="4960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Headers" preserve="1">
  <p:cSld name="Title 4 Content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2434237" cy="28098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1"/>
            <a:ext cx="2432168" cy="2812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280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b="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F3658C72-050E-49A9-8A13-07B94D5B9E7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838325"/>
            <a:ext cx="2433000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1A0351BE-E79F-40A3-8577-E328D3958891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1838325"/>
            <a:ext cx="243328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B5182934-6831-4FDC-A7C4-AD9D3815080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02399" y="1838325"/>
            <a:ext cx="2433575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C472BB61-B63B-4095-8DC2-455C10AA39C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1838325"/>
            <a:ext cx="2433863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D54E39-7624-462F-9F80-7DB617C0C73A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8CEDC305-A4E2-47D6-8428-DF835B4BE35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42CD21-E3A6-48AE-89E1-78DE4A6A013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8E3CC0-4E20-44A9-BE78-32651EB3DB80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984208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040">
          <p15:clr>
            <a:srgbClr val="547EBF"/>
          </p15:clr>
        </p15:guide>
        <p15:guide id="8" orient="horz" pos="1158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pos="1776">
          <p15:clr>
            <a:srgbClr val="547EBF"/>
          </p15:clr>
        </p15:guide>
        <p15:guide id="12" pos="2012">
          <p15:clr>
            <a:srgbClr val="547EBF"/>
          </p15:clr>
        </p15:guide>
        <p15:guide id="13" pos="3545">
          <p15:clr>
            <a:srgbClr val="547EBF"/>
          </p15:clr>
        </p15:guide>
        <p15:guide id="14" pos="3781">
          <p15:clr>
            <a:srgbClr val="547EBF"/>
          </p15:clr>
        </p15:guide>
        <p15:guide id="15" pos="5314">
          <p15:clr>
            <a:srgbClr val="547EBF"/>
          </p15:clr>
        </p15:guide>
        <p15:guide id="16" pos="5550">
          <p15:clr>
            <a:srgbClr val="547EB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Intro" type="txAndObj" preserve="1">
  <p:cSld name="Title Content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3" name="Text Placeholder">
            <a:extLst>
              <a:ext uri="{FF2B5EF4-FFF2-40B4-BE49-F238E27FC236}">
                <a16:creationId xmlns:a16="http://schemas.microsoft.com/office/drawing/2014/main" id="{72A2FDCE-6151-4692-9789-AB95CA61E4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10858500" cy="7493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BC68B6CC-90B0-4EEA-B714-6E3AFC295DB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800"/>
            <a:ext cx="10857863" cy="3744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72956B-2CDE-4E6E-830A-3B27344C8F4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3C4E7FB-5B91-46E6-A46C-5488EE2B85C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756FD2-4F39-4021-9903-850FB63FD85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7ECBC2-1186-4738-BA8D-47F51F71F4A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4184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1335">
          <p15:clr>
            <a:srgbClr val="547EBF"/>
          </p15:clr>
        </p15:guide>
        <p15:guide id="8" orient="horz" pos="1452">
          <p15:clr>
            <a:srgbClr val="547EBF"/>
          </p15:clr>
        </p15:guide>
        <p15:guide id="9" orient="horz" pos="3811">
          <p15:clr>
            <a:srgbClr val="547EBF"/>
          </p15:clr>
        </p15:guide>
        <p15:guide id="11" orient="horz" pos="3958">
          <p15:clr>
            <a:srgbClr val="547EB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Intro" type="twoColTx" preserve="1">
  <p:cSld name="Titöe 2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5242237" cy="74880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aseline="0" dirty="0">
                <a:solidFill>
                  <a:schemeClr val="accent1"/>
                </a:solidFill>
              </a:defRPr>
            </a:lvl1pPr>
            <a:lvl2pPr>
              <a:defRPr lang="en-US" sz="1600" baseline="0" dirty="0">
                <a:solidFill>
                  <a:schemeClr val="accent1"/>
                </a:solidFill>
              </a:defRPr>
            </a:lvl2pPr>
            <a:lvl3pPr>
              <a:defRPr lang="en-US" sz="1600" baseline="0" dirty="0">
                <a:solidFill>
                  <a:schemeClr val="accent1"/>
                </a:solidFill>
              </a:defRPr>
            </a:lvl3pPr>
            <a:lvl4pPr>
              <a:defRPr lang="en-US" baseline="0" dirty="0">
                <a:solidFill>
                  <a:schemeClr val="accent1"/>
                </a:solidFill>
              </a:defRPr>
            </a:lvl4pPr>
            <a:lvl5pPr>
              <a:defRPr lang="en-US" baseline="0" dirty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1369800"/>
            <a:ext cx="5237781" cy="748800"/>
          </a:xfr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 baseline="0">
                <a:solidFill>
                  <a:schemeClr val="accent1"/>
                </a:solidFill>
              </a:defRPr>
            </a:lvl6pPr>
            <a:lvl7pPr>
              <a:defRPr baseline="0">
                <a:solidFill>
                  <a:schemeClr val="accent1"/>
                </a:solidFill>
              </a:defRPr>
            </a:lvl7pPr>
            <a:lvl8pPr>
              <a:defRPr baseline="0">
                <a:solidFill>
                  <a:schemeClr val="accent1"/>
                </a:solidFill>
              </a:defRPr>
            </a:lvl8pPr>
            <a:lvl9pPr>
              <a:defRPr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5800"/>
            <a:ext cx="5241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3ACEDA-14D2-4D60-ACDB-D5109573C7D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3CA84888-AC81-4564-B0ED-A3AB5BF805AC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B44124A-5903-474D-B425-7EC03B538F4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9A5D1A-8FC2-4425-8085-692FBEA2366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68373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3781">
          <p15:clr>
            <a:srgbClr val="547EBF"/>
          </p15:clr>
        </p15:guide>
        <p15:guide id="11" pos="7083">
          <p15:clr>
            <a:srgbClr val="547EBF"/>
          </p15:clr>
        </p15:guide>
        <p15:guide id="12" pos="243">
          <p15:clr>
            <a:srgbClr val="547EB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Intro" preserve="1">
  <p:cSld name="Title 3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3"/>
            <a:ext cx="3370237" cy="748590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1370013"/>
            <a:ext cx="3367372" cy="748587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2306013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2305800"/>
            <a:ext cx="3369600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2305800"/>
            <a:ext cx="3369863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3403440-F3EA-48E6-B8F0-E8964D08C2A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58311C3C-C296-4B23-8529-7B5E85E25800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6573ED-A8D1-44BE-89E8-BDC17846C04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1022E9E-7F31-4169-926F-181B429842B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6504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60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3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2366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Intro" preserve="1">
  <p:cSld name="Title 4 Contents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left">
            <a:extLst>
              <a:ext uri="{FF2B5EF4-FFF2-40B4-BE49-F238E27FC236}">
                <a16:creationId xmlns:a16="http://schemas.microsoft.com/office/drawing/2014/main" id="{5FA9E211-8E39-47DD-A16C-2F9499BC7F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1370012"/>
            <a:ext cx="2434237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8" name="Text Placeholder center left">
            <a:extLst>
              <a:ext uri="{FF2B5EF4-FFF2-40B4-BE49-F238E27FC236}">
                <a16:creationId xmlns:a16="http://schemas.microsoft.com/office/drawing/2014/main" id="{2A19C958-E7D0-44A4-B38C-60844D9F66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1369800"/>
            <a:ext cx="2432168" cy="7018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19" name="Text Placeholder center right">
            <a:extLst>
              <a:ext uri="{FF2B5EF4-FFF2-40B4-BE49-F238E27FC236}">
                <a16:creationId xmlns:a16="http://schemas.microsoft.com/office/drawing/2014/main" id="{8E8876E3-76FC-4ACB-8045-9ACBD3AB98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1370013"/>
            <a:ext cx="2432168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0" name="Text Placeholder right">
            <a:extLst>
              <a:ext uri="{FF2B5EF4-FFF2-40B4-BE49-F238E27FC236}">
                <a16:creationId xmlns:a16="http://schemas.microsoft.com/office/drawing/2014/main" id="{725A00B6-43EB-4ECA-AF70-EB3B121F05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1370013"/>
            <a:ext cx="2433792" cy="70167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accent1"/>
                </a:solidFill>
              </a:defRPr>
            </a:lvl1pPr>
            <a:lvl2pPr>
              <a:defRPr lang="en-US" sz="1200" dirty="0">
                <a:solidFill>
                  <a:schemeClr val="accent1"/>
                </a:solidFill>
              </a:defRPr>
            </a:lvl2pPr>
            <a:lvl3pPr>
              <a:defRPr lang="en-US" sz="1200" dirty="0">
                <a:solidFill>
                  <a:schemeClr val="accent1"/>
                </a:solidFill>
              </a:defRPr>
            </a:lvl3pPr>
            <a:lvl4pPr>
              <a:defRPr lang="en-US" sz="1000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defRPr lang="en-US" sz="1200" dirty="0">
                <a:solidFill>
                  <a:schemeClr val="accent1"/>
                </a:solidFill>
              </a:defRPr>
            </a:lvl6pPr>
            <a:lvl7pPr>
              <a:defRPr lang="en-US" sz="1000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</p:txBody>
      </p:sp>
      <p:sp>
        <p:nvSpPr>
          <p:cNvPr id="25" name="Content Placeholder left">
            <a:extLst>
              <a:ext uri="{FF2B5EF4-FFF2-40B4-BE49-F238E27FC236}">
                <a16:creationId xmlns:a16="http://schemas.microsoft.com/office/drawing/2014/main" id="{0BB2027E-987B-485D-89AA-87365F0151D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2305050"/>
            <a:ext cx="2433000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center left">
            <a:extLst>
              <a:ext uri="{FF2B5EF4-FFF2-40B4-BE49-F238E27FC236}">
                <a16:creationId xmlns:a16="http://schemas.microsoft.com/office/drawing/2014/main" id="{9E46103B-D425-4BC6-A1E6-5704302AEA0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194400" y="2305050"/>
            <a:ext cx="2433288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center right">
            <a:extLst>
              <a:ext uri="{FF2B5EF4-FFF2-40B4-BE49-F238E27FC236}">
                <a16:creationId xmlns:a16="http://schemas.microsoft.com/office/drawing/2014/main" id="{4C5B107C-E832-4C51-99BD-DBFE27272F46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002399" y="2305050"/>
            <a:ext cx="2433575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Click to 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Third level</a:t>
            </a:r>
          </a:p>
          <a:p>
            <a:pPr lvl="3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dirty="0"/>
              <a:t>Sixth level</a:t>
            </a:r>
          </a:p>
          <a:p>
            <a:pPr lvl="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8" name="Content Placeholder right">
            <a:extLst>
              <a:ext uri="{FF2B5EF4-FFF2-40B4-BE49-F238E27FC236}">
                <a16:creationId xmlns:a16="http://schemas.microsoft.com/office/drawing/2014/main" id="{546E20EC-644E-49F2-9E1F-9546C70449BE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810399" y="2305050"/>
            <a:ext cx="2433863" cy="374491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EDFF9E-C967-40DC-8E03-0995A117EA7C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AACF3B69-8127-4046-A791-57CE4AFBD3DC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F72F79-D9B5-4D0A-B162-39508696979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517A76-FB91-4F47-B520-B627D55DBE2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49495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1305">
          <p15:clr>
            <a:srgbClr val="547EBF"/>
          </p15:clr>
        </p15:guide>
        <p15:guide id="7" orient="horz" pos="1452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1776">
          <p15:clr>
            <a:srgbClr val="547EBF"/>
          </p15:clr>
        </p15:guide>
        <p15:guide id="11" pos="2012">
          <p15:clr>
            <a:srgbClr val="547EBF"/>
          </p15:clr>
        </p15:guide>
        <p15:guide id="12" pos="3545">
          <p15:clr>
            <a:srgbClr val="547EBF"/>
          </p15:clr>
        </p15:guide>
        <p15:guide id="13" pos="3781">
          <p15:clr>
            <a:srgbClr val="547EBF"/>
          </p15:clr>
        </p15:guide>
        <p15:guide id="14" pos="5314">
          <p15:clr>
            <a:srgbClr val="547EBF"/>
          </p15:clr>
        </p15:guide>
        <p15:guide id="15" pos="5550">
          <p15:clr>
            <a:srgbClr val="547EBF"/>
          </p15:clr>
        </p15:guide>
        <p15:guide id="16" pos="7083">
          <p15:clr>
            <a:srgbClr val="547EB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Content &#10;with Text" type="objOverTx" preserve="1">
  <p:cSld name="Title Conten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399" y="1369800"/>
            <a:ext cx="10857863" cy="308948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">
            <a:extLst>
              <a:ext uri="{FF2B5EF4-FFF2-40B4-BE49-F238E27FC236}">
                <a16:creationId xmlns:a16="http://schemas.microsoft.com/office/drawing/2014/main" id="{1A5B03E1-015A-4D18-B342-9CADF726D9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800"/>
            <a:ext cx="10858500" cy="140477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4FC1AD-118A-479F-B6D9-E94E29C8D3F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64D15F24-6B43-40C0-92CA-B20BD4F41C6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64B1D0-72DB-448B-852E-084AA83DB1C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C2BB846-FD72-404F-B0F8-B4CBB9109F3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7377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2809">
          <p15:clr>
            <a:srgbClr val="547EBF"/>
          </p15:clr>
        </p15:guide>
        <p15:guide id="8" orient="horz" pos="2926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tIns="36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2000" baseline="0">
                <a:solidFill>
                  <a:schemeClr val="accent1"/>
                </a:solidFill>
              </a:defRPr>
            </a:lvl1pPr>
            <a:lvl2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2pPr>
            <a:lvl3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3pPr>
            <a:lvl4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5pPr>
            <a:lvl6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  <a:defRPr sz="2000" baseline="0">
                <a:solidFill>
                  <a:schemeClr val="accent1"/>
                </a:solidFill>
              </a:defRPr>
            </a:lvl6pPr>
            <a:lvl7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7pPr>
            <a:lvl8pPr>
              <a:lnSpc>
                <a:spcPct val="95000"/>
              </a:lnSpc>
              <a:spcBef>
                <a:spcPts val="369"/>
              </a:spcBef>
              <a:spcAft>
                <a:spcPts val="369"/>
              </a:spcAft>
              <a:defRPr sz="1600" baseline="0">
                <a:solidFill>
                  <a:schemeClr val="accent1"/>
                </a:solidFill>
              </a:defRPr>
            </a:lvl8pPr>
            <a:lvl9pPr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defRPr sz="1200" baseline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95CED1D3-1FC8-4A3D-BC76-3245976F657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10857863" cy="4680163"/>
          </a:xfrm>
        </p:spPr>
        <p:txBody>
          <a:bodyPr/>
          <a:lstStyle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9D5BDC-1173-44FF-AFA5-8F2114E340A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CE3109-2B52-4738-928A-F7125818F0D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8341C4-4C0D-4BED-9235-74E019B48B8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46FDEC34-FCB4-4EAC-9BEA-21A661EFE34B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076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863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3811">
          <p15:clr>
            <a:srgbClr val="547EBF"/>
          </p15:clr>
        </p15:guide>
        <p15:guide id="5" orient="horz" pos="3958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273">
          <p15:clr>
            <a:srgbClr val="547EBF"/>
          </p15:clr>
        </p15:guide>
        <p15:guide id="9" orient="horz" pos="509">
          <p15:clr>
            <a:srgbClr val="547EB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 &#10;with Text" type="twoObjOverTx" preserve="1">
  <p:cSld name="Title 2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5241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70013"/>
            <a:ext cx="5241862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6010"/>
            <a:ext cx="5242237" cy="140400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right">
            <a:extLst>
              <a:ext uri="{FF2B5EF4-FFF2-40B4-BE49-F238E27FC236}">
                <a16:creationId xmlns:a16="http://schemas.microsoft.com/office/drawing/2014/main" id="{2736EA48-A5FD-471F-8C50-CAC9BAAFCC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02400" y="4645800"/>
            <a:ext cx="5237781" cy="1404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0FFBE53-5DCA-4779-8AAF-DDEF8984ED0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FE5F86F-552B-4977-B9DD-7E75D9D4FFE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091EF74-A273-4D9F-BFB8-4F3A848D8DA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0DA29FB-8CE8-4CA8-BAAF-0562B530F84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6980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43">
          <p15:clr>
            <a:srgbClr val="547EBF"/>
          </p15:clr>
        </p15:guide>
        <p15:guide id="11" pos="3545">
          <p15:clr>
            <a:srgbClr val="547EBF"/>
          </p15:clr>
        </p15:guide>
        <p15:guide id="12" pos="3781">
          <p15:clr>
            <a:srgbClr val="547EB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 &#10;with Text" preserve="1">
  <p:cSld name="Title 3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3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0400" y="1369800"/>
            <a:ext cx="3369600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874399" y="1369800"/>
            <a:ext cx="3369863" cy="308858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  <a:lvl6pPr>
              <a:defRPr lang="en-US" dirty="0"/>
            </a:lvl6pPr>
            <a:lvl7pPr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2" name="Text Placeholder left">
            <a:extLst>
              <a:ext uri="{FF2B5EF4-FFF2-40B4-BE49-F238E27FC236}">
                <a16:creationId xmlns:a16="http://schemas.microsoft.com/office/drawing/2014/main" id="{A8886709-9610-483F-92CC-2A72A3FBEF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3370237" cy="140400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center">
            <a:extLst>
              <a:ext uri="{FF2B5EF4-FFF2-40B4-BE49-F238E27FC236}">
                <a16:creationId xmlns:a16="http://schemas.microsoft.com/office/drawing/2014/main" id="{C5D6C4C1-1748-4F13-BF71-CB0B1D588B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0400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right">
            <a:extLst>
              <a:ext uri="{FF2B5EF4-FFF2-40B4-BE49-F238E27FC236}">
                <a16:creationId xmlns:a16="http://schemas.microsoft.com/office/drawing/2014/main" id="{137B864B-E3EF-48FF-9B48-5900C6762F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76628" y="4645800"/>
            <a:ext cx="3367372" cy="140399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E5C7900-745E-4006-AAFE-0C3258E3DCE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E3B7811-8A70-4E0A-80E6-0BEFC6238E7B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2F9DF32-2956-4A1E-80B3-89A1D1BB0C3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0A82D22-5BA5-44CE-BE69-87DDF0144BE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9695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2809">
          <p15:clr>
            <a:srgbClr val="547EBF"/>
          </p15:clr>
        </p15:guide>
        <p15:guide id="7" orient="horz" pos="2926">
          <p15:clr>
            <a:srgbClr val="547EBF"/>
          </p15:clr>
        </p15:guide>
        <p15:guide id="8" orient="horz" pos="3811">
          <p15:clr>
            <a:srgbClr val="547EBF"/>
          </p15:clr>
        </p15:guide>
        <p15:guide id="9" orient="horz" pos="3958">
          <p15:clr>
            <a:srgbClr val="547EBF"/>
          </p15:clr>
        </p15:guide>
        <p15:guide id="10" pos="2366">
          <p15:clr>
            <a:srgbClr val="547EBF"/>
          </p15:clr>
        </p15:guide>
        <p15:guide id="11" pos="2602">
          <p15:clr>
            <a:srgbClr val="547EBF"/>
          </p15:clr>
        </p15:guide>
        <p15:guide id="12" pos="4724">
          <p15:clr>
            <a:srgbClr val="547EBF"/>
          </p15:clr>
        </p15:guide>
        <p15:guide id="13" pos="4960">
          <p15:clr>
            <a:srgbClr val="547EBF"/>
          </p15:clr>
        </p15:guide>
        <p15:guide id="14" pos="7083">
          <p15:clr>
            <a:srgbClr val="547EB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4 Contents &#10;with Text" preserve="1">
  <p:cSld name="Title 4 Conten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cent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194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center right">
            <a:extLst>
              <a:ext uri="{FF2B5EF4-FFF2-40B4-BE49-F238E27FC236}">
                <a16:creationId xmlns:a16="http://schemas.microsoft.com/office/drawing/2014/main" id="{050396BA-273E-425D-AD91-83515A9126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002400" y="1369801"/>
            <a:ext cx="2433600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right">
            <a:extLst>
              <a:ext uri="{FF2B5EF4-FFF2-40B4-BE49-F238E27FC236}">
                <a16:creationId xmlns:a16="http://schemas.microsoft.com/office/drawing/2014/main" id="{9DCB9383-FF8B-4F58-9768-9723C97F0D9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10399" y="1369801"/>
            <a:ext cx="2433863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left">
            <a:extLst>
              <a:ext uri="{FF2B5EF4-FFF2-40B4-BE49-F238E27FC236}">
                <a16:creationId xmlns:a16="http://schemas.microsoft.com/office/drawing/2014/main" id="{F3C161C3-640E-41D6-A44F-B3AC30348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763" y="4645797"/>
            <a:ext cx="2434237" cy="140368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center left">
            <a:extLst>
              <a:ext uri="{FF2B5EF4-FFF2-40B4-BE49-F238E27FC236}">
                <a16:creationId xmlns:a16="http://schemas.microsoft.com/office/drawing/2014/main" id="{BF155FED-E878-4F82-91CB-EEB6A0EAAC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94400" y="4645055"/>
            <a:ext cx="2432168" cy="140474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center right">
            <a:extLst>
              <a:ext uri="{FF2B5EF4-FFF2-40B4-BE49-F238E27FC236}">
                <a16:creationId xmlns:a16="http://schemas.microsoft.com/office/drawing/2014/main" id="{2D1F3CDA-96EB-4C1B-8688-55D69CCE4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400" y="4645800"/>
            <a:ext cx="2432168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right">
            <a:extLst>
              <a:ext uri="{FF2B5EF4-FFF2-40B4-BE49-F238E27FC236}">
                <a16:creationId xmlns:a16="http://schemas.microsoft.com/office/drawing/2014/main" id="{8857AEC9-5CA3-4A1E-B979-308C2CAC47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10208" y="4645800"/>
            <a:ext cx="2433792" cy="14036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  <a:lvl2pPr>
              <a:defRPr lang="en-US" sz="1200" dirty="0"/>
            </a:lvl2pPr>
            <a:lvl3pPr>
              <a:defRPr lang="en-US" sz="1200" dirty="0"/>
            </a:lvl3pPr>
            <a:lvl4pPr>
              <a:defRPr lang="en-US" sz="1000" dirty="0"/>
            </a:lvl4pPr>
            <a:lvl5pPr>
              <a:defRPr lang="en-US" dirty="0"/>
            </a:lvl5pPr>
            <a:lvl6pPr>
              <a:defRPr lang="en-US" sz="1200" dirty="0"/>
            </a:lvl6pPr>
            <a:lvl7pPr>
              <a:defRPr lang="en-US" sz="1000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lvl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lvl="2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Third level</a:t>
            </a:r>
          </a:p>
          <a:p>
            <a:pPr lvl="3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ourth level</a:t>
            </a:r>
          </a:p>
          <a:p>
            <a:pPr lvl="4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96A14B-7708-46D9-8826-69E1E642DEC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37681E4-1BFC-43B2-8037-029FB590810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74E8C58-8CC0-4477-8D91-E7F3D11137D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118CE30-E3AA-4912-B632-62F474FEF02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57437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012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243">
          <p15:clr>
            <a:srgbClr val="547EBF"/>
          </p15:clr>
        </p15:guide>
        <p15:guide id="4" pos="7083">
          <p15:clr>
            <a:srgbClr val="547EBF"/>
          </p15:clr>
        </p15:guide>
        <p15:guide id="5" pos="1776">
          <p15:clr>
            <a:srgbClr val="547EBF"/>
          </p15:clr>
        </p15:guide>
        <p15:guide id="6" pos="3545">
          <p15:clr>
            <a:srgbClr val="547EBF"/>
          </p15:clr>
        </p15:guide>
        <p15:guide id="7" pos="3781">
          <p15:clr>
            <a:srgbClr val="547EBF"/>
          </p15:clr>
        </p15:guide>
        <p15:guide id="8" pos="5314">
          <p15:clr>
            <a:srgbClr val="547EBF"/>
          </p15:clr>
        </p15:guide>
        <p15:guide id="9" pos="5550">
          <p15:clr>
            <a:srgbClr val="547EBF"/>
          </p15:clr>
        </p15:guide>
        <p15:guide id="10" orient="horz" pos="509">
          <p15:clr>
            <a:srgbClr val="547EBF"/>
          </p15:clr>
        </p15:guide>
        <p15:guide id="11" orient="horz" pos="745">
          <p15:clr>
            <a:srgbClr val="547EBF"/>
          </p15:clr>
        </p15:guide>
        <p15:guide id="12" orient="horz" pos="863">
          <p15:clr>
            <a:srgbClr val="547EBF"/>
          </p15:clr>
        </p15:guide>
        <p15:guide id="13" orient="horz" pos="2809">
          <p15:clr>
            <a:srgbClr val="547EBF"/>
          </p15:clr>
        </p15:guide>
        <p15:guide id="14" orient="horz" pos="2926">
          <p15:clr>
            <a:srgbClr val="547EBF"/>
          </p15:clr>
        </p15:guide>
        <p15:guide id="15" orient="horz" pos="3811">
          <p15:clr>
            <a:srgbClr val="547EBF"/>
          </p15:clr>
        </p15:guide>
        <p15:guide id="16" orient="horz" pos="3958">
          <p15:clr>
            <a:srgbClr val="547EB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Header right" type="twoObjAndTx" preserve="1">
  <p:cSld name="2 Contents with Heade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8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838324"/>
            <a:ext cx="5241862" cy="4211425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3"/>
            <a:ext cx="5242237" cy="280988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98ADD4-8AFF-4ACF-93DF-CFB1C5ACF22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E41893C4-02D9-4333-95BC-1DA31FA8CEF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4B576C-63CA-4CCA-9DD6-D688BE66DF8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DAFDF3-2398-4828-B505-4DD86880574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7574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708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Intro right" type="txAndTwoObj" preserve="1">
  <p:cSld name="2 Contents with Intr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2305800"/>
            <a:ext cx="5241862" cy="3743949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1370012"/>
            <a:ext cx="5242237" cy="748803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 baseline="0"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 baseline="0">
                <a:solidFill>
                  <a:schemeClr val="accent1"/>
                </a:solidFill>
              </a:defRPr>
            </a:lvl4pPr>
            <a:lvl5pPr>
              <a:defRPr baseline="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3FEF96-3E0F-4E0F-AFE2-A69102B82C90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2AFF231-6E5F-4F60-AA37-7DE0ACD786C2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48DFA4-1119-44B7-BD42-A233F866843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DB2CF4-935D-40C6-B1CF-F181FED349E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2486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781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3545">
          <p15:clr>
            <a:srgbClr val="547EBF"/>
          </p15:clr>
        </p15:guide>
        <p15:guide id="9" pos="243">
          <p15:clr>
            <a:srgbClr val="547EBF"/>
          </p15:clr>
        </p15:guide>
        <p15:guide id="10" pos="7083">
          <p15:clr>
            <a:srgbClr val="547EB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right" type="mediaAndTx" preserve="1">
  <p:cSld name="2 Contents with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lef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86400" y="1370014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22" name="Content Placeholder righ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02400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righ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1763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 marL="519750" indent="-285750">
              <a:buNone/>
              <a:defRPr lang="en-US" sz="160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02E3762-0CF3-461E-BD9F-A326B5F02B1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106D8F7-02B1-4160-83C7-46939707B81B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8D85ED-676A-4FEA-9EA2-2C71D76D709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9BEE438-0DDB-4A6A-921F-7BE670E39DC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50538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73">
          <p15:clr>
            <a:srgbClr val="547EBF"/>
          </p15:clr>
        </p15:guide>
        <p15:guide id="2" pos="243">
          <p15:clr>
            <a:srgbClr val="547EBF"/>
          </p15:clr>
        </p15:guide>
        <p15:guide id="3" pos="3545">
          <p15:clr>
            <a:srgbClr val="547EBF"/>
          </p15:clr>
        </p15:guide>
        <p15:guide id="4" pos="3781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509">
          <p15:clr>
            <a:srgbClr val="547EBF"/>
          </p15:clr>
        </p15:guide>
        <p15:guide id="7" orient="horz" pos="745">
          <p15:clr>
            <a:srgbClr val="547EBF"/>
          </p15:clr>
        </p15:guide>
        <p15:guide id="8" orient="horz" pos="863">
          <p15:clr>
            <a:srgbClr val="547EBF"/>
          </p15:clr>
        </p15:guide>
        <p15:guide id="9" orient="horz" pos="3811">
          <p15:clr>
            <a:srgbClr val="547EBF"/>
          </p15:clr>
        </p15:guide>
        <p15:guide id="10" orient="horz" pos="3958">
          <p15:clr>
            <a:srgbClr val="547EB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ntents &#10;with Text left" type="txAndMedia" preserve="1">
  <p:cSld name="2 Contents with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21" name="Content Placeholder right">
            <a:extLst>
              <a:ext uri="{FF2B5EF4-FFF2-40B4-BE49-F238E27FC236}">
                <a16:creationId xmlns:a16="http://schemas.microsoft.com/office/drawing/2014/main" id="{C6377AC0-D12A-439C-B048-7CE4C88186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002400" y="1369800"/>
            <a:ext cx="5241600" cy="4679736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  <a:lvl6pPr>
              <a:buAutoNum type="arabicPeriod"/>
              <a:defRPr/>
            </a:lvl6pPr>
            <a:lvl7pPr>
              <a:buAutoNum type="romanLcPeriod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left">
            <a:extLst>
              <a:ext uri="{FF2B5EF4-FFF2-40B4-BE49-F238E27FC236}">
                <a16:creationId xmlns:a16="http://schemas.microsoft.com/office/drawing/2014/main" id="{EC6E7A83-9797-4BE9-93CC-79CCAEF0A0E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7037" y="1369801"/>
            <a:ext cx="5241862" cy="3088800"/>
          </a:xfr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noProof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JhengHei"/>
              <a:cs typeface="Arial"/>
            </a:endParaRP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0CFC4BF5-DB1E-4713-9E98-00F92C02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6400" y="4645611"/>
            <a:ext cx="5242237" cy="1404351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  <a:lvl2pPr>
              <a:defRPr lang="en-US" dirty="0">
                <a:solidFill>
                  <a:schemeClr val="accent1"/>
                </a:solidFill>
              </a:defRPr>
            </a:lvl2pPr>
            <a:lvl3pPr>
              <a:defRPr lang="en-US" dirty="0">
                <a:solidFill>
                  <a:schemeClr val="accent1"/>
                </a:solidFill>
              </a:defRPr>
            </a:lvl3pPr>
            <a:lvl4pPr>
              <a:defRPr lang="en-US" dirty="0">
                <a:solidFill>
                  <a:schemeClr val="accent1"/>
                </a:solidFill>
              </a:defRPr>
            </a:lvl4pPr>
            <a:lvl5pPr>
              <a:defRPr lang="en-US" dirty="0">
                <a:solidFill>
                  <a:schemeClr val="accent1"/>
                </a:solidFill>
              </a:defRPr>
            </a:lvl5pPr>
            <a:lvl6pPr>
              <a:buAutoNum type="arabicPeriod"/>
              <a:defRPr lang="en-US" dirty="0">
                <a:solidFill>
                  <a:schemeClr val="accent1"/>
                </a:solidFill>
              </a:defRPr>
            </a:lvl6pPr>
            <a:lvl7pPr>
              <a:buAutoNum type="romanLcPeriod"/>
              <a:defRPr lang="en-US" dirty="0">
                <a:solidFill>
                  <a:schemeClr val="accent1"/>
                </a:solidFill>
              </a:defRPr>
            </a:lvl7pPr>
            <a:lvl8pPr>
              <a:defRPr lang="en-US" dirty="0">
                <a:solidFill>
                  <a:schemeClr val="accent1"/>
                </a:solidFill>
              </a:defRPr>
            </a:lvl8pPr>
            <a:lvl9pPr>
              <a:defRPr lang="en-US" dirty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FD0E28-6962-45CE-B41C-F26C7DD3067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AE90AF89-4D3A-4473-BDD4-EB66E735514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E6ED946-A89F-4642-A6D1-5B220E00CC0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5E1D2E-928D-46A5-A4D0-3B092CC58C3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68493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45">
          <p15:clr>
            <a:srgbClr val="547EBF"/>
          </p15:clr>
        </p15:guide>
        <p15:guide id="2" orient="horz" pos="3811">
          <p15:clr>
            <a:srgbClr val="547EBF"/>
          </p15:clr>
        </p15:guide>
        <p15:guide id="3" pos="3781">
          <p15:clr>
            <a:srgbClr val="547EBF"/>
          </p15:clr>
        </p15:guide>
        <p15:guide id="4" pos="243">
          <p15:clr>
            <a:srgbClr val="547EBF"/>
          </p15:clr>
        </p15:guide>
        <p15:guide id="5" pos="7083">
          <p15:clr>
            <a:srgbClr val="547EBF"/>
          </p15:clr>
        </p15:guide>
        <p15:guide id="6" orient="horz" pos="273">
          <p15:clr>
            <a:srgbClr val="547EBF"/>
          </p15:clr>
        </p15:guide>
        <p15:guide id="7" orient="horz" pos="509">
          <p15:clr>
            <a:srgbClr val="547EBF"/>
          </p15:clr>
        </p15:guide>
        <p15:guide id="8" orient="horz" pos="745">
          <p15:clr>
            <a:srgbClr val="547EBF"/>
          </p15:clr>
        </p15:guide>
        <p15:guide id="9" orient="horz" pos="863">
          <p15:clr>
            <a:srgbClr val="547EBF"/>
          </p15:clr>
        </p15:guide>
        <p15:guide id="10" orient="horz" pos="3958">
          <p15:clr>
            <a:srgbClr val="547EBF"/>
          </p15:clr>
        </p15:guide>
        <p15:guide id="11" orient="horz" pos="2809">
          <p15:clr>
            <a:srgbClr val="547EBF"/>
          </p15:clr>
        </p15:guide>
        <p15:guide id="12" orient="horz" pos="2926">
          <p15:clr>
            <a:srgbClr val="547EB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237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31B13F-62D2-42B8-A68D-203BB59F18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45DC443F-D5F0-4B85-B2C1-3A4667FC9D7A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909442-E2B8-4A8B-AA29-571D780EA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551B03-B8BB-45BD-8DD9-CBBFCA639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060335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243">
          <p15:clr>
            <a:srgbClr val="547EBF"/>
          </p15:clr>
        </p15:guide>
        <p15:guide id="9" pos="7083">
          <p15:clr>
            <a:srgbClr val="547EB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46804C-5EB1-4AB4-807F-4F6195643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724BFB57-36D4-4F2E-ADB1-F2B6DE0714C7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68B026-5796-452E-9BB7-1A7F9A822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7DA69B-C02D-4615-B1EC-D5BA88E01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05996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orient="horz" pos="509">
          <p15:clr>
            <a:srgbClr val="547EBF"/>
          </p15:clr>
        </p15:guide>
        <p15:guide id="4" orient="horz" pos="745">
          <p15:clr>
            <a:srgbClr val="547EBF"/>
          </p15:clr>
        </p15:guide>
        <p15:guide id="5" orient="horz" pos="863">
          <p15:clr>
            <a:srgbClr val="547EBF"/>
          </p15:clr>
        </p15:guide>
        <p15:guide id="6" orient="horz" pos="3811">
          <p15:clr>
            <a:srgbClr val="547EBF"/>
          </p15:clr>
        </p15:guide>
        <p15:guide id="7" orient="horz" pos="3958">
          <p15:clr>
            <a:srgbClr val="547EBF"/>
          </p15:clr>
        </p15:guide>
        <p15:guide id="8" pos="7083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&#10;client logo" preserve="1" userDrawn="1">
  <p:cSld name="End slide client logo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6" name="Hide background Logo">
            <a:extLst>
              <a:ext uri="{FF2B5EF4-FFF2-40B4-BE49-F238E27FC236}">
                <a16:creationId xmlns:a16="http://schemas.microsoft.com/office/drawing/2014/main" id="{0BBDE0D9-3500-40C6-BF15-2E5F5937AA29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455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88400" y="1391400"/>
              <a:ext cx="4504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grpSp>
        <p:nvGrpSpPr>
          <p:cNvPr id="72" name="Graphic 4907">
            <a:extLst>
              <a:ext uri="{FF2B5EF4-FFF2-40B4-BE49-F238E27FC236}">
                <a16:creationId xmlns:a16="http://schemas.microsoft.com/office/drawing/2014/main" id="{0D7CC600-8815-435E-BCE9-8962E8FE163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73" name="Vrije vorm: vorm 4910">
              <a:extLst>
                <a:ext uri="{FF2B5EF4-FFF2-40B4-BE49-F238E27FC236}">
                  <a16:creationId xmlns:a16="http://schemas.microsoft.com/office/drawing/2014/main" id="{4667D4C7-677C-4A3A-B4D1-47086372E6E5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74" name="Vrije vorm: vorm 4911">
              <a:extLst>
                <a:ext uri="{FF2B5EF4-FFF2-40B4-BE49-F238E27FC236}">
                  <a16:creationId xmlns:a16="http://schemas.microsoft.com/office/drawing/2014/main" id="{C2ECB4BC-FB15-4050-BA3E-C622768A7418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75" name="Graphic 4907">
            <a:extLst>
              <a:ext uri="{FF2B5EF4-FFF2-40B4-BE49-F238E27FC236}">
                <a16:creationId xmlns:a16="http://schemas.microsoft.com/office/drawing/2014/main" id="{0272150B-3831-463C-86BB-43F6D1C0DDB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76" name="Vrije vorm: vorm 4913">
              <a:extLst>
                <a:ext uri="{FF2B5EF4-FFF2-40B4-BE49-F238E27FC236}">
                  <a16:creationId xmlns:a16="http://schemas.microsoft.com/office/drawing/2014/main" id="{525D3F68-269D-483A-AEB4-A69651138227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77" name="Vrije vorm: vorm 4914">
              <a:extLst>
                <a:ext uri="{FF2B5EF4-FFF2-40B4-BE49-F238E27FC236}">
                  <a16:creationId xmlns:a16="http://schemas.microsoft.com/office/drawing/2014/main" id="{092ED77B-CF3B-48EB-A6B1-DDB90A2417D2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55EAD4-1AE9-430D-9195-B1BDBCDB9274}"/>
              </a:ext>
            </a:extLst>
          </p:cNvPr>
          <p:cNvCxnSpPr>
            <a:cxnSpLocks/>
          </p:cNvCxnSpPr>
          <p:nvPr/>
        </p:nvCxnSpPr>
        <p:spPr>
          <a:xfrm>
            <a:off x="9682933" y="246600"/>
            <a:ext cx="0" cy="8424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MIO_AGENDA_IGNORE_NAVIGATION" hidden="1">
            <a:extLst>
              <a:ext uri="{FF2B5EF4-FFF2-40B4-BE49-F238E27FC236}">
                <a16:creationId xmlns:a16="http://schemas.microsoft.com/office/drawing/2014/main" id="{FCE8ADEB-72DC-48DB-8B77-3DC4FB918EE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4" name="MIO_AGENDA_IGNORE_CHAPTER_REFERENCE" hidden="1">
            <a:extLst>
              <a:ext uri="{FF2B5EF4-FFF2-40B4-BE49-F238E27FC236}">
                <a16:creationId xmlns:a16="http://schemas.microsoft.com/office/drawing/2014/main" id="{976887AB-5E0A-471B-AFAF-4ACF6D30328F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7" name="MIO_LOGOPLACEHOLDER#Closing" hidden="1">
            <a:extLst>
              <a:ext uri="{FF2B5EF4-FFF2-40B4-BE49-F238E27FC236}">
                <a16:creationId xmlns:a16="http://schemas.microsoft.com/office/drawing/2014/main" id="{2EA46382-E9B6-46AD-9356-4CE8C8139EB1}"/>
              </a:ext>
            </a:extLst>
          </p:cNvPr>
          <p:cNvSpPr/>
          <p:nvPr/>
        </p:nvSpPr>
        <p:spPr>
          <a:xfrm>
            <a:off x="11197200" y="115094"/>
            <a:ext cx="203200" cy="203200"/>
          </a:xfrm>
          <a:prstGeom prst="noSmoking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MIO_AGENDA_LAST_SLIDE" hidden="1">
            <a:extLst>
              <a:ext uri="{FF2B5EF4-FFF2-40B4-BE49-F238E27FC236}">
                <a16:creationId xmlns:a16="http://schemas.microsoft.com/office/drawing/2014/main" id="{A5ACD32F-853B-4D82-9242-36FD6601B6D6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6" name="Logo">
            <a:extLst>
              <a:ext uri="{FF2B5EF4-FFF2-40B4-BE49-F238E27FC236}">
                <a16:creationId xmlns:a16="http://schemas.microsoft.com/office/drawing/2014/main" id="{0281FEA4-9F0E-4A52-BA2D-8F5C196B252E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irstname Lastname">
            <a:extLst>
              <a:ext uri="{FF2B5EF4-FFF2-40B4-BE49-F238E27FC236}">
                <a16:creationId xmlns:a16="http://schemas.microsoft.com/office/drawing/2014/main" id="{3E9243FA-4C12-4776-9DDA-9DED5F4EE9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39" name="Position and Title">
            <a:extLst>
              <a:ext uri="{FF2B5EF4-FFF2-40B4-BE49-F238E27FC236}">
                <a16:creationId xmlns:a16="http://schemas.microsoft.com/office/drawing/2014/main" id="{CDD47F99-A71C-4684-9C8A-757F62F411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40" name="Telephone">
            <a:extLst>
              <a:ext uri="{FF2B5EF4-FFF2-40B4-BE49-F238E27FC236}">
                <a16:creationId xmlns:a16="http://schemas.microsoft.com/office/drawing/2014/main" id="{A0ED14EA-5B52-4818-A618-8EA9C11CFA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43" name="Email">
            <a:extLst>
              <a:ext uri="{FF2B5EF4-FFF2-40B4-BE49-F238E27FC236}">
                <a16:creationId xmlns:a16="http://schemas.microsoft.com/office/drawing/2014/main" id="{2F4C36B4-9688-4315-86CA-0EA0915517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45" name="Location">
            <a:extLst>
              <a:ext uri="{FF2B5EF4-FFF2-40B4-BE49-F238E27FC236}">
                <a16:creationId xmlns:a16="http://schemas.microsoft.com/office/drawing/2014/main" id="{C0E5E582-CB4C-4554-9A53-74C1E43BF96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24EC8ADC-525E-4679-AFC2-3E71B47EAFA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BD94D0EC-69AD-4209-B306-81122119E78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3ABB07B7-3662-4056-81D4-B5989AC29F7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0BAF792A-C35A-4C28-BA63-0765F6AD1D0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92078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731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" preserve="1">
  <p:cSld name="End slide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8" name="Hide background Logo">
            <a:extLst>
              <a:ext uri="{FF2B5EF4-FFF2-40B4-BE49-F238E27FC236}">
                <a16:creationId xmlns:a16="http://schemas.microsoft.com/office/drawing/2014/main" id="{0C3579B9-3ADA-4588-BB3E-E3EBFB6BF267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noFill/>
            </a:endParaRPr>
          </a:p>
        </p:txBody>
      </p:sp>
      <p:grpSp>
        <p:nvGrpSpPr>
          <p:cNvPr id="42" name="Grid Decoration">
            <a:extLst>
              <a:ext uri="{FF2B5EF4-FFF2-40B4-BE49-F238E27FC236}">
                <a16:creationId xmlns:a16="http://schemas.microsoft.com/office/drawing/2014/main" id="{8F70B469-5ED5-4570-8D58-BA071F46B914}"/>
              </a:ext>
            </a:extLst>
          </p:cNvPr>
          <p:cNvGrpSpPr/>
          <p:nvPr/>
        </p:nvGrpSpPr>
        <p:grpSpPr bwMode="ltGray">
          <a:xfrm flipH="1">
            <a:off x="0" y="0"/>
            <a:ext cx="12192000" cy="6858000"/>
            <a:chOff x="1200" y="-446400"/>
            <a:chExt cx="12192000" cy="685800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60ADC78-9949-4FBB-A175-E501ED9162F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1860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FBB44016-66B0-4E2E-BCED-C9CE40DE18C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99348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B955A00-9F62-4DD8-A095-D8BF428B101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0683600" y="-4464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2CC4B7-89C1-4B8A-BC0D-231CC2EA6BD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114324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51C1756-0D22-4BF0-97A1-FBE27C9E8B5B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455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DBE7224-2A0D-4F58-A43F-748C3E4ECD0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4400" y="1391400"/>
              <a:ext cx="82488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EDC6495-C889-47B6-9B12-993370440A8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2326960"/>
              <a:ext cx="0" cy="40846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5246DF58-B7B0-456A-9F6A-B6A27182305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84372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40FD560-CBED-401C-9A39-15B1E50E0B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7688400" y="-445520"/>
              <a:ext cx="0" cy="685712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03795F4-52D0-485C-8912-D428ADACEAF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" y="2327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0CD295C-95AB-4825-87D7-B3A7F8DCFDD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939600" y="-44596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9EA2067-06E6-4FB3-A618-7AA7C1C011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6190800" y="-44552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E126F36-B98E-46D3-B603-5E778BC5212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5442000" y="-44508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BC02083-9AF7-4E76-94A4-CD5D9F2E6B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4693200" y="-44464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3BEE4F6-8A6B-4068-B86D-89DFDC70E62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H="1">
              <a:off x="3944400" y="-444200"/>
              <a:ext cx="0" cy="277336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 Placeholder">
            <a:extLst>
              <a:ext uri="{FF2B5EF4-FFF2-40B4-BE49-F238E27FC236}">
                <a16:creationId xmlns:a16="http://schemas.microsoft.com/office/drawing/2014/main" id="{69DD162C-D02B-4608-B9D0-D160456CEF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5837" y="3007799"/>
            <a:ext cx="3006563" cy="3042163"/>
          </a:xfrm>
        </p:spPr>
        <p:txBody>
          <a:bodyPr/>
          <a:lstStyle>
            <a:lvl1pPr>
              <a:defRPr sz="5400" b="1" baseline="0">
                <a:solidFill>
                  <a:schemeClr val="bg1"/>
                </a:solidFill>
              </a:defRPr>
            </a:lvl1pPr>
            <a:lvl2pPr>
              <a:defRPr sz="5400" baseline="0">
                <a:solidFill>
                  <a:schemeClr val="bg1"/>
                </a:solidFill>
              </a:defRPr>
            </a:lvl2pPr>
            <a:lvl3pPr>
              <a:defRPr sz="5400" baseline="0">
                <a:solidFill>
                  <a:schemeClr val="bg1"/>
                </a:solidFill>
              </a:defRPr>
            </a:lvl3pPr>
            <a:lvl4pPr>
              <a:defRPr sz="5400" baseline="0">
                <a:solidFill>
                  <a:schemeClr val="bg1"/>
                </a:solidFill>
              </a:defRPr>
            </a:lvl4pPr>
            <a:lvl5pPr>
              <a:defRPr sz="5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anks</a:t>
            </a:r>
          </a:p>
          <a:p>
            <a:pPr lvl="1"/>
            <a:endParaRPr lang="en-US" dirty="0"/>
          </a:p>
        </p:txBody>
      </p:sp>
      <p:sp>
        <p:nvSpPr>
          <p:cNvPr id="39" name="MIO_AGENDA_IGNORE_NAVIGATION" hidden="1">
            <a:extLst>
              <a:ext uri="{FF2B5EF4-FFF2-40B4-BE49-F238E27FC236}">
                <a16:creationId xmlns:a16="http://schemas.microsoft.com/office/drawing/2014/main" id="{C3FBE8F4-38D0-493A-A7BB-33E9441676CE}"/>
              </a:ext>
            </a:extLst>
          </p:cNvPr>
          <p:cNvSpPr/>
          <p:nvPr/>
        </p:nvSpPr>
        <p:spPr>
          <a:xfrm>
            <a:off x="1179080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0" name="MIO_AGENDA_IGNORE_CHAPTER_REFERENCE" hidden="1">
            <a:extLst>
              <a:ext uri="{FF2B5EF4-FFF2-40B4-BE49-F238E27FC236}">
                <a16:creationId xmlns:a16="http://schemas.microsoft.com/office/drawing/2014/main" id="{F94A61A7-7AEE-4282-83AB-F464ED2636DA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3" name="MIO_AGENDA_LAST_SLIDE" hidden="1">
            <a:extLst>
              <a:ext uri="{FF2B5EF4-FFF2-40B4-BE49-F238E27FC236}">
                <a16:creationId xmlns:a16="http://schemas.microsoft.com/office/drawing/2014/main" id="{7049BCE7-7BC9-455B-8C84-08F8B9A0FB1E}"/>
              </a:ext>
            </a:extLst>
          </p:cNvPr>
          <p:cNvSpPr/>
          <p:nvPr/>
        </p:nvSpPr>
        <p:spPr>
          <a:xfrm>
            <a:off x="10911760" y="115094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5" name="Logo">
            <a:extLst>
              <a:ext uri="{FF2B5EF4-FFF2-40B4-BE49-F238E27FC236}">
                <a16:creationId xmlns:a16="http://schemas.microsoft.com/office/drawing/2014/main" id="{562F8F28-5BE4-41C6-8A66-09C03AA22E21}"/>
              </a:ext>
            </a:extLst>
          </p:cNvPr>
          <p:cNvSpPr>
            <a:spLocks noChangeAspect="1"/>
          </p:cNvSpPr>
          <p:nvPr/>
        </p:nvSpPr>
        <p:spPr bwMode="black">
          <a:xfrm>
            <a:off x="10111908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aphic 4907">
            <a:extLst>
              <a:ext uri="{FF2B5EF4-FFF2-40B4-BE49-F238E27FC236}">
                <a16:creationId xmlns:a16="http://schemas.microsoft.com/office/drawing/2014/main" id="{22AFA129-B012-46CD-AC08-0FE087D3976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black">
          <a:xfrm>
            <a:off x="8711708" y="3175577"/>
            <a:ext cx="332692" cy="465562"/>
            <a:chOff x="24624313" y="3946220"/>
            <a:chExt cx="1065476" cy="1490999"/>
          </a:xfrm>
          <a:solidFill>
            <a:srgbClr val="FFFFFF"/>
          </a:solidFill>
        </p:grpSpPr>
        <p:sp>
          <p:nvSpPr>
            <p:cNvPr id="47" name="Vrije vorm: vorm 4910">
              <a:extLst>
                <a:ext uri="{FF2B5EF4-FFF2-40B4-BE49-F238E27FC236}">
                  <a16:creationId xmlns:a16="http://schemas.microsoft.com/office/drawing/2014/main" id="{FAC3AB7A-2583-4658-9136-BA324BD78711}"/>
                </a:ext>
              </a:extLst>
            </p:cNvPr>
            <p:cNvSpPr/>
            <p:nvPr/>
          </p:nvSpPr>
          <p:spPr bwMode="black">
            <a:xfrm>
              <a:off x="24624313" y="3946220"/>
              <a:ext cx="1065476" cy="1490999"/>
            </a:xfrm>
            <a:custGeom>
              <a:avLst/>
              <a:gdLst>
                <a:gd name="connsiteX0" fmla="*/ 967708 w 1065476"/>
                <a:gd name="connsiteY0" fmla="*/ 192139 h 1490999"/>
                <a:gd name="connsiteX1" fmla="*/ 533474 w 1065476"/>
                <a:gd name="connsiteY1" fmla="*/ 0 h 1490999"/>
                <a:gd name="connsiteX2" fmla="*/ 99239 w 1065476"/>
                <a:gd name="connsiteY2" fmla="*/ 192139 h 1490999"/>
                <a:gd name="connsiteX3" fmla="*/ 7012 w 1065476"/>
                <a:gd name="connsiteY3" fmla="*/ 534147 h 1490999"/>
                <a:gd name="connsiteX4" fmla="*/ 506574 w 1065476"/>
                <a:gd name="connsiteY4" fmla="*/ 1452571 h 1490999"/>
                <a:gd name="connsiteX5" fmla="*/ 533474 w 1065476"/>
                <a:gd name="connsiteY5" fmla="*/ 1490999 h 1490999"/>
                <a:gd name="connsiteX6" fmla="*/ 560373 w 1065476"/>
                <a:gd name="connsiteY6" fmla="*/ 1452571 h 1490999"/>
                <a:gd name="connsiteX7" fmla="*/ 1059934 w 1065476"/>
                <a:gd name="connsiteY7" fmla="*/ 534147 h 1490999"/>
                <a:gd name="connsiteX8" fmla="*/ 967708 w 1065476"/>
                <a:gd name="connsiteY8" fmla="*/ 192139 h 1490999"/>
                <a:gd name="connsiteX9" fmla="*/ 994608 w 1065476"/>
                <a:gd name="connsiteY9" fmla="*/ 522618 h 1490999"/>
                <a:gd name="connsiteX10" fmla="*/ 529631 w 1065476"/>
                <a:gd name="connsiteY10" fmla="*/ 1379559 h 1490999"/>
                <a:gd name="connsiteX11" fmla="*/ 68497 w 1065476"/>
                <a:gd name="connsiteY11" fmla="*/ 522618 h 1490999"/>
                <a:gd name="connsiteX12" fmla="*/ 145353 w 1065476"/>
                <a:gd name="connsiteY12" fmla="*/ 230567 h 1490999"/>
                <a:gd name="connsiteX13" fmla="*/ 529631 w 1065476"/>
                <a:gd name="connsiteY13" fmla="*/ 57642 h 1490999"/>
                <a:gd name="connsiteX14" fmla="*/ 913909 w 1065476"/>
                <a:gd name="connsiteY14" fmla="*/ 230567 h 1490999"/>
                <a:gd name="connsiteX15" fmla="*/ 994608 w 1065476"/>
                <a:gd name="connsiteY15" fmla="*/ 522618 h 149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65476" h="1490999">
                  <a:moveTo>
                    <a:pt x="967708" y="192139"/>
                  </a:moveTo>
                  <a:cubicBezTo>
                    <a:pt x="867795" y="73013"/>
                    <a:pt x="702556" y="0"/>
                    <a:pt x="533474" y="0"/>
                  </a:cubicBezTo>
                  <a:cubicBezTo>
                    <a:pt x="364390" y="0"/>
                    <a:pt x="199151" y="73013"/>
                    <a:pt x="99239" y="192139"/>
                  </a:cubicBezTo>
                  <a:cubicBezTo>
                    <a:pt x="18540" y="292051"/>
                    <a:pt x="-16045" y="411178"/>
                    <a:pt x="7012" y="534147"/>
                  </a:cubicBezTo>
                  <a:cubicBezTo>
                    <a:pt x="49283" y="757028"/>
                    <a:pt x="487360" y="1425672"/>
                    <a:pt x="506574" y="1452571"/>
                  </a:cubicBezTo>
                  <a:lnTo>
                    <a:pt x="533474" y="1490999"/>
                  </a:lnTo>
                  <a:lnTo>
                    <a:pt x="560373" y="1452571"/>
                  </a:lnTo>
                  <a:cubicBezTo>
                    <a:pt x="579586" y="1421829"/>
                    <a:pt x="1021506" y="745500"/>
                    <a:pt x="1059934" y="534147"/>
                  </a:cubicBezTo>
                  <a:cubicBezTo>
                    <a:pt x="1079148" y="407335"/>
                    <a:pt x="1048406" y="288209"/>
                    <a:pt x="967708" y="192139"/>
                  </a:cubicBezTo>
                  <a:moveTo>
                    <a:pt x="994608" y="522618"/>
                  </a:moveTo>
                  <a:cubicBezTo>
                    <a:pt x="963865" y="691701"/>
                    <a:pt x="629543" y="1225847"/>
                    <a:pt x="529631" y="1379559"/>
                  </a:cubicBezTo>
                  <a:cubicBezTo>
                    <a:pt x="433561" y="1229690"/>
                    <a:pt x="99239" y="703229"/>
                    <a:pt x="68497" y="522618"/>
                  </a:cubicBezTo>
                  <a:cubicBezTo>
                    <a:pt x="45440" y="388121"/>
                    <a:pt x="95396" y="288209"/>
                    <a:pt x="145353" y="230567"/>
                  </a:cubicBezTo>
                  <a:cubicBezTo>
                    <a:pt x="233736" y="126812"/>
                    <a:pt x="379763" y="57642"/>
                    <a:pt x="529631" y="57642"/>
                  </a:cubicBezTo>
                  <a:cubicBezTo>
                    <a:pt x="679499" y="57642"/>
                    <a:pt x="825524" y="122969"/>
                    <a:pt x="913909" y="230567"/>
                  </a:cubicBezTo>
                  <a:cubicBezTo>
                    <a:pt x="967708" y="288209"/>
                    <a:pt x="1021506" y="388121"/>
                    <a:pt x="994608" y="522618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  <p:sp>
          <p:nvSpPr>
            <p:cNvPr id="54" name="Vrije vorm: vorm 4911">
              <a:extLst>
                <a:ext uri="{FF2B5EF4-FFF2-40B4-BE49-F238E27FC236}">
                  <a16:creationId xmlns:a16="http://schemas.microsoft.com/office/drawing/2014/main" id="{C71F4A9C-FE68-45F4-9759-DC7F9D688760}"/>
                </a:ext>
              </a:extLst>
            </p:cNvPr>
            <p:cNvSpPr/>
            <p:nvPr/>
          </p:nvSpPr>
          <p:spPr bwMode="black">
            <a:xfrm>
              <a:off x="24877263" y="4161416"/>
              <a:ext cx="561046" cy="561046"/>
            </a:xfrm>
            <a:custGeom>
              <a:avLst/>
              <a:gdLst>
                <a:gd name="connsiteX0" fmla="*/ 280524 w 561046"/>
                <a:gd name="connsiteY0" fmla="*/ 0 h 561046"/>
                <a:gd name="connsiteX1" fmla="*/ 0 w 561046"/>
                <a:gd name="connsiteY1" fmla="*/ 280523 h 561046"/>
                <a:gd name="connsiteX2" fmla="*/ 280524 w 561046"/>
                <a:gd name="connsiteY2" fmla="*/ 561046 h 561046"/>
                <a:gd name="connsiteX3" fmla="*/ 280524 w 561046"/>
                <a:gd name="connsiteY3" fmla="*/ 499562 h 561046"/>
                <a:gd name="connsiteX4" fmla="*/ 61485 w 561046"/>
                <a:gd name="connsiteY4" fmla="*/ 280523 h 561046"/>
                <a:gd name="connsiteX5" fmla="*/ 280524 w 561046"/>
                <a:gd name="connsiteY5" fmla="*/ 61484 h 561046"/>
                <a:gd name="connsiteX6" fmla="*/ 499562 w 561046"/>
                <a:gd name="connsiteY6" fmla="*/ 280523 h 561046"/>
                <a:gd name="connsiteX7" fmla="*/ 561046 w 561046"/>
                <a:gd name="connsiteY7" fmla="*/ 280523 h 561046"/>
                <a:gd name="connsiteX8" fmla="*/ 280524 w 561046"/>
                <a:gd name="connsiteY8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046" h="561046">
                  <a:moveTo>
                    <a:pt x="280524" y="0"/>
                  </a:moveTo>
                  <a:cubicBezTo>
                    <a:pt x="122969" y="0"/>
                    <a:pt x="0" y="122969"/>
                    <a:pt x="0" y="280523"/>
                  </a:cubicBezTo>
                  <a:cubicBezTo>
                    <a:pt x="0" y="438077"/>
                    <a:pt x="122969" y="561046"/>
                    <a:pt x="280524" y="561046"/>
                  </a:cubicBezTo>
                  <a:lnTo>
                    <a:pt x="280524" y="499562"/>
                  </a:lnTo>
                  <a:cubicBezTo>
                    <a:pt x="157554" y="499562"/>
                    <a:pt x="61485" y="403492"/>
                    <a:pt x="61485" y="280523"/>
                  </a:cubicBezTo>
                  <a:cubicBezTo>
                    <a:pt x="61485" y="157554"/>
                    <a:pt x="157554" y="61484"/>
                    <a:pt x="280524" y="61484"/>
                  </a:cubicBezTo>
                  <a:cubicBezTo>
                    <a:pt x="403492" y="61484"/>
                    <a:pt x="499562" y="157554"/>
                    <a:pt x="499562" y="280523"/>
                  </a:cubicBezTo>
                  <a:lnTo>
                    <a:pt x="561046" y="280523"/>
                  </a:lnTo>
                  <a:cubicBezTo>
                    <a:pt x="561046" y="122969"/>
                    <a:pt x="438077" y="0"/>
                    <a:pt x="280524" y="0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baseline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aphic 4907">
            <a:extLst>
              <a:ext uri="{FF2B5EF4-FFF2-40B4-BE49-F238E27FC236}">
                <a16:creationId xmlns:a16="http://schemas.microsoft.com/office/drawing/2014/main" id="{CB81D5B0-8EBA-4ADA-B97C-1B547263B21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black">
          <a:xfrm>
            <a:off x="4967227" y="3167263"/>
            <a:ext cx="379973" cy="465563"/>
            <a:chOff x="8107365" y="4049975"/>
            <a:chExt cx="1125934" cy="1379558"/>
          </a:xfrm>
          <a:solidFill>
            <a:srgbClr val="FFFFFF"/>
          </a:solidFill>
        </p:grpSpPr>
        <p:sp>
          <p:nvSpPr>
            <p:cNvPr id="56" name="Vrije vorm: vorm 4913">
              <a:extLst>
                <a:ext uri="{FF2B5EF4-FFF2-40B4-BE49-F238E27FC236}">
                  <a16:creationId xmlns:a16="http://schemas.microsoft.com/office/drawing/2014/main" id="{D1255CF1-ACFC-4C77-8569-E24B7172CB4D}"/>
                </a:ext>
              </a:extLst>
            </p:cNvPr>
            <p:cNvSpPr/>
            <p:nvPr/>
          </p:nvSpPr>
          <p:spPr bwMode="black">
            <a:xfrm>
              <a:off x="8295662" y="4049975"/>
              <a:ext cx="753185" cy="753185"/>
            </a:xfrm>
            <a:custGeom>
              <a:avLst/>
              <a:gdLst>
                <a:gd name="connsiteX0" fmla="*/ 376593 w 753185"/>
                <a:gd name="connsiteY0" fmla="*/ 753185 h 753185"/>
                <a:gd name="connsiteX1" fmla="*/ 0 w 753185"/>
                <a:gd name="connsiteY1" fmla="*/ 376593 h 753185"/>
                <a:gd name="connsiteX2" fmla="*/ 376593 w 753185"/>
                <a:gd name="connsiteY2" fmla="*/ 0 h 753185"/>
                <a:gd name="connsiteX3" fmla="*/ 753185 w 753185"/>
                <a:gd name="connsiteY3" fmla="*/ 376593 h 753185"/>
                <a:gd name="connsiteX4" fmla="*/ 376593 w 753185"/>
                <a:gd name="connsiteY4" fmla="*/ 753185 h 753185"/>
                <a:gd name="connsiteX5" fmla="*/ 376593 w 753185"/>
                <a:gd name="connsiteY5" fmla="*/ 65327 h 753185"/>
                <a:gd name="connsiteX6" fmla="*/ 65327 w 753185"/>
                <a:gd name="connsiteY6" fmla="*/ 376593 h 753185"/>
                <a:gd name="connsiteX7" fmla="*/ 376593 w 753185"/>
                <a:gd name="connsiteY7" fmla="*/ 687858 h 753185"/>
                <a:gd name="connsiteX8" fmla="*/ 687858 w 753185"/>
                <a:gd name="connsiteY8" fmla="*/ 376593 h 753185"/>
                <a:gd name="connsiteX9" fmla="*/ 376593 w 753185"/>
                <a:gd name="connsiteY9" fmla="*/ 65327 h 75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3185" h="753185">
                  <a:moveTo>
                    <a:pt x="376593" y="753185"/>
                  </a:moveTo>
                  <a:cubicBezTo>
                    <a:pt x="169082" y="753185"/>
                    <a:pt x="0" y="584103"/>
                    <a:pt x="0" y="376593"/>
                  </a:cubicBezTo>
                  <a:cubicBezTo>
                    <a:pt x="0" y="169082"/>
                    <a:pt x="169082" y="0"/>
                    <a:pt x="376593" y="0"/>
                  </a:cubicBezTo>
                  <a:cubicBezTo>
                    <a:pt x="584103" y="0"/>
                    <a:pt x="753185" y="169082"/>
                    <a:pt x="753185" y="376593"/>
                  </a:cubicBezTo>
                  <a:cubicBezTo>
                    <a:pt x="753185" y="584103"/>
                    <a:pt x="584103" y="753185"/>
                    <a:pt x="376593" y="753185"/>
                  </a:cubicBezTo>
                  <a:moveTo>
                    <a:pt x="376593" y="65327"/>
                  </a:moveTo>
                  <a:cubicBezTo>
                    <a:pt x="203667" y="65327"/>
                    <a:pt x="65327" y="207510"/>
                    <a:pt x="65327" y="376593"/>
                  </a:cubicBezTo>
                  <a:cubicBezTo>
                    <a:pt x="65327" y="549518"/>
                    <a:pt x="207510" y="687858"/>
                    <a:pt x="376593" y="687858"/>
                  </a:cubicBezTo>
                  <a:cubicBezTo>
                    <a:pt x="545675" y="687858"/>
                    <a:pt x="687858" y="545675"/>
                    <a:pt x="687858" y="376593"/>
                  </a:cubicBezTo>
                  <a:cubicBezTo>
                    <a:pt x="687858" y="207510"/>
                    <a:pt x="549518" y="65327"/>
                    <a:pt x="376593" y="65327"/>
                  </a:cubicBezTo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7" name="Vrije vorm: vorm 4914">
              <a:extLst>
                <a:ext uri="{FF2B5EF4-FFF2-40B4-BE49-F238E27FC236}">
                  <a16:creationId xmlns:a16="http://schemas.microsoft.com/office/drawing/2014/main" id="{D5E9E5AC-F91B-4A84-8FE5-924686616EF7}"/>
                </a:ext>
              </a:extLst>
            </p:cNvPr>
            <p:cNvSpPr/>
            <p:nvPr/>
          </p:nvSpPr>
          <p:spPr bwMode="black">
            <a:xfrm>
              <a:off x="8107365" y="4868487"/>
              <a:ext cx="1125934" cy="561046"/>
            </a:xfrm>
            <a:custGeom>
              <a:avLst/>
              <a:gdLst>
                <a:gd name="connsiteX0" fmla="*/ 1125935 w 1125934"/>
                <a:gd name="connsiteY0" fmla="*/ 561046 h 561046"/>
                <a:gd name="connsiteX1" fmla="*/ 1064451 w 1125934"/>
                <a:gd name="connsiteY1" fmla="*/ 561046 h 561046"/>
                <a:gd name="connsiteX2" fmla="*/ 1064451 w 1125934"/>
                <a:gd name="connsiteY2" fmla="*/ 61484 h 561046"/>
                <a:gd name="connsiteX3" fmla="*/ 61485 w 1125934"/>
                <a:gd name="connsiteY3" fmla="*/ 61484 h 561046"/>
                <a:gd name="connsiteX4" fmla="*/ 61485 w 1125934"/>
                <a:gd name="connsiteY4" fmla="*/ 561046 h 561046"/>
                <a:gd name="connsiteX5" fmla="*/ 0 w 1125934"/>
                <a:gd name="connsiteY5" fmla="*/ 561046 h 561046"/>
                <a:gd name="connsiteX6" fmla="*/ 0 w 1125934"/>
                <a:gd name="connsiteY6" fmla="*/ 0 h 561046"/>
                <a:gd name="connsiteX7" fmla="*/ 1125935 w 1125934"/>
                <a:gd name="connsiteY7" fmla="*/ 0 h 56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5934" h="561046">
                  <a:moveTo>
                    <a:pt x="1125935" y="561046"/>
                  </a:moveTo>
                  <a:lnTo>
                    <a:pt x="1064451" y="561046"/>
                  </a:lnTo>
                  <a:lnTo>
                    <a:pt x="1064451" y="61484"/>
                  </a:lnTo>
                  <a:lnTo>
                    <a:pt x="61485" y="61484"/>
                  </a:lnTo>
                  <a:lnTo>
                    <a:pt x="61485" y="561046"/>
                  </a:lnTo>
                  <a:lnTo>
                    <a:pt x="0" y="561046"/>
                  </a:lnTo>
                  <a:lnTo>
                    <a:pt x="0" y="0"/>
                  </a:lnTo>
                  <a:lnTo>
                    <a:pt x="1125935" y="0"/>
                  </a:lnTo>
                  <a:close/>
                </a:path>
              </a:pathLst>
            </a:custGeom>
            <a:solidFill>
              <a:srgbClr val="FFFFFF"/>
            </a:solidFill>
            <a:ln w="384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  <p:sp>
        <p:nvSpPr>
          <p:cNvPr id="6" name="Firstname Lastname">
            <a:extLst>
              <a:ext uri="{FF2B5EF4-FFF2-40B4-BE49-F238E27FC236}">
                <a16:creationId xmlns:a16="http://schemas.microsoft.com/office/drawing/2014/main" id="{411E9401-EC09-478E-A9B1-7F39EE0E1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64109" y="3314653"/>
            <a:ext cx="2310293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8" name="Position and Title">
            <a:extLst>
              <a:ext uri="{FF2B5EF4-FFF2-40B4-BE49-F238E27FC236}">
                <a16:creationId xmlns:a16="http://schemas.microsoft.com/office/drawing/2014/main" id="{AA8E0F45-751A-4330-8A52-962E992533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751" y="3495097"/>
            <a:ext cx="2308247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10" name="Telephone">
            <a:extLst>
              <a:ext uri="{FF2B5EF4-FFF2-40B4-BE49-F238E27FC236}">
                <a16:creationId xmlns:a16="http://schemas.microsoft.com/office/drawing/2014/main" id="{3D171C7F-54D2-4D60-BCFF-93803838E6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65752" y="4033929"/>
            <a:ext cx="2649894" cy="175434"/>
          </a:xfrm>
        </p:spPr>
        <p:txBody>
          <a:bodyPr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 baseline="0">
                <a:solidFill>
                  <a:schemeClr val="bg1"/>
                </a:solidFill>
              </a:defRPr>
            </a:lvl2pPr>
            <a:lvl3pPr>
              <a:defRPr sz="1200" baseline="0">
                <a:solidFill>
                  <a:schemeClr val="bg1"/>
                </a:solidFill>
              </a:defRPr>
            </a:lvl3pPr>
            <a:lvl4pPr>
              <a:defRPr sz="1200" baseline="0">
                <a:solidFill>
                  <a:schemeClr val="bg1"/>
                </a:solidFill>
              </a:defRPr>
            </a:lvl4pPr>
            <a:lvl5pPr>
              <a:defRPr sz="1200" baseline="0">
                <a:solidFill>
                  <a:schemeClr val="bg1"/>
                </a:solidFill>
              </a:defRPr>
            </a:lvl5pPr>
          </a:lstStyle>
          <a:p>
            <a:pPr lvl="0"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+31 12 3456 7890</a:t>
            </a:r>
          </a:p>
        </p:txBody>
      </p:sp>
      <p:sp>
        <p:nvSpPr>
          <p:cNvPr id="13" name="Email">
            <a:extLst>
              <a:ext uri="{FF2B5EF4-FFF2-40B4-BE49-F238E27FC236}">
                <a16:creationId xmlns:a16="http://schemas.microsoft.com/office/drawing/2014/main" id="{0D64B803-F1AC-4FE0-A130-F5E7BB46B0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5751" y="4209364"/>
            <a:ext cx="2649887" cy="202436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defTabSz="374400">
              <a:lnSpc>
                <a:spcPct val="95000"/>
              </a:lnSpc>
              <a:spcAft>
                <a:spcPts val="0"/>
              </a:spcAft>
            </a:pPr>
            <a:r>
              <a:rPr lang="en-US" sz="1200" b="1" baseline="0" dirty="0">
                <a:solidFill>
                  <a:schemeClr val="bg1"/>
                </a:solidFill>
              </a:rPr>
              <a:t>firstname.lastname@asml.com</a:t>
            </a:r>
          </a:p>
        </p:txBody>
      </p:sp>
      <p:sp>
        <p:nvSpPr>
          <p:cNvPr id="15" name="Location">
            <a:extLst>
              <a:ext uri="{FF2B5EF4-FFF2-40B4-BE49-F238E27FC236}">
                <a16:creationId xmlns:a16="http://schemas.microsoft.com/office/drawing/2014/main" id="{D42C81F4-24AA-4A92-BC47-EAB39A4310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93912" y="3316706"/>
            <a:ext cx="2324084" cy="175433"/>
          </a:xfrm>
        </p:spPr>
        <p:txBody>
          <a:bodyPr/>
          <a:lstStyle>
            <a:lvl1pPr>
              <a:defRPr sz="1200" b="1" i="0" baseline="0">
                <a:solidFill>
                  <a:schemeClr val="bg1"/>
                </a:solidFill>
              </a:defRPr>
            </a:lvl1pPr>
            <a:lvl2pPr>
              <a:defRPr sz="1200" b="1" i="0" baseline="0">
                <a:solidFill>
                  <a:schemeClr val="bg1"/>
                </a:solidFill>
              </a:defRPr>
            </a:lvl2pPr>
            <a:lvl3pPr>
              <a:defRPr sz="1200" b="1" i="0" baseline="0">
                <a:solidFill>
                  <a:schemeClr val="bg1"/>
                </a:solidFill>
              </a:defRPr>
            </a:lvl3pPr>
            <a:lvl4pPr>
              <a:defRPr sz="1200" b="1" i="0" baseline="0">
                <a:solidFill>
                  <a:schemeClr val="bg1"/>
                </a:solidFill>
              </a:defRPr>
            </a:lvl4pPr>
            <a:lvl5pPr>
              <a:defRPr sz="1200" b="1" i="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  <a:p>
            <a:pPr lvl="1"/>
            <a:endParaRPr lang="en-US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709E070-026E-4274-AAE0-13E74DB3601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DB389492-908D-414E-9B10-5FBA9AAE3E0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C805A902-97AB-47D4-B6F2-D811B996FF1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2C93483A-7A5D-4EC0-B723-E000C7C69E3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fld id="{A2218858-49EA-4BF8-8EFE-B88A4580565A}" type="slidenum">
              <a:rPr lang="en-US"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028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2" preserve="1" userDrawn="1">
  <p:cSld name="Title Slide 2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1" name="Hide background Logo">
            <a:extLst>
              <a:ext uri="{FF2B5EF4-FFF2-40B4-BE49-F238E27FC236}">
                <a16:creationId xmlns:a16="http://schemas.microsoft.com/office/drawing/2014/main" id="{78140037-05AE-4719-ADE1-27B81AE5C796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ooter Placeholder (hidden)">
            <a:extLst>
              <a:ext uri="{FF2B5EF4-FFF2-40B4-BE49-F238E27FC236}">
                <a16:creationId xmlns:a16="http://schemas.microsoft.com/office/drawing/2014/main" id="{E59104A9-6371-4B6E-ADB0-1BC485D2DE73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0" name="Slide Number Placeholder (hidden)">
            <a:extLst>
              <a:ext uri="{FF2B5EF4-FFF2-40B4-BE49-F238E27FC236}">
                <a16:creationId xmlns:a16="http://schemas.microsoft.com/office/drawing/2014/main" id="{03B6870E-CF8C-4EED-BB0D-66F9991BDB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  <a:prstGeom prst="rect">
            <a:avLst/>
          </a:prstGeom>
        </p:spPr>
        <p:txBody>
          <a:bodyPr/>
          <a:lstStyle>
            <a:lvl1pPr algn="r">
              <a:defRPr>
                <a:noFill/>
              </a:defRPr>
            </a:lvl1pPr>
          </a:lstStyle>
          <a:p>
            <a:fld id="{A2218858-49EA-4BF8-8EFE-B88A4580565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28724634-FC2F-49E4-BF14-FA465D8DEE7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8067950 w 12192000"/>
              <a:gd name="connsiteY0" fmla="*/ 5120150 h 6858000"/>
              <a:gd name="connsiteX1" fmla="*/ 12192000 w 12192000"/>
              <a:gd name="connsiteY1" fmla="*/ 5120150 h 6858000"/>
              <a:gd name="connsiteX2" fmla="*/ 12192000 w 12192000"/>
              <a:gd name="connsiteY2" fmla="*/ 6858000 h 6858000"/>
              <a:gd name="connsiteX3" fmla="*/ 8067950 w 12192000"/>
              <a:gd name="connsiteY3" fmla="*/ 6858000 h 6858000"/>
              <a:gd name="connsiteX4" fmla="*/ 0 w 12192000"/>
              <a:gd name="connsiteY4" fmla="*/ 5120150 h 6858000"/>
              <a:gd name="connsiteX5" fmla="*/ 8061600 w 12192000"/>
              <a:gd name="connsiteY5" fmla="*/ 5120150 h 6858000"/>
              <a:gd name="connsiteX6" fmla="*/ 8061600 w 12192000"/>
              <a:gd name="connsiteY6" fmla="*/ 6858000 h 6858000"/>
              <a:gd name="connsiteX7" fmla="*/ 0 w 12192000"/>
              <a:gd name="connsiteY7" fmla="*/ 6858000 h 6858000"/>
              <a:gd name="connsiteX8" fmla="*/ 806795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5113800 h 6858000"/>
              <a:gd name="connsiteX11" fmla="*/ 8067950 w 12192000"/>
              <a:gd name="connsiteY11" fmla="*/ 5113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8067950" y="5120150"/>
                </a:moveTo>
                <a:lnTo>
                  <a:pt x="12192000" y="5120150"/>
                </a:lnTo>
                <a:lnTo>
                  <a:pt x="12192000" y="6858000"/>
                </a:lnTo>
                <a:lnTo>
                  <a:pt x="8067950" y="6858000"/>
                </a:lnTo>
                <a:close/>
                <a:moveTo>
                  <a:pt x="0" y="5120150"/>
                </a:moveTo>
                <a:lnTo>
                  <a:pt x="8061600" y="5120150"/>
                </a:lnTo>
                <a:lnTo>
                  <a:pt x="8061600" y="6858000"/>
                </a:lnTo>
                <a:lnTo>
                  <a:pt x="0" y="6858000"/>
                </a:lnTo>
                <a:close/>
                <a:moveTo>
                  <a:pt x="8067950" y="0"/>
                </a:moveTo>
                <a:lnTo>
                  <a:pt x="12192000" y="0"/>
                </a:lnTo>
                <a:lnTo>
                  <a:pt x="12192000" y="5113800"/>
                </a:lnTo>
                <a:lnTo>
                  <a:pt x="8067950" y="5113800"/>
                </a:lnTo>
                <a:close/>
              </a:path>
            </a:pathLst>
          </a:custGeom>
          <a:noFill/>
        </p:spPr>
        <p:txBody>
          <a:bodyPr vert="horz" wrap="square" lIns="396000" tIns="0" rIns="396000" bIns="468000" rtlCol="0" anchor="ctr" anchorCtr="0">
            <a:noAutofit/>
          </a:bodyPr>
          <a:lstStyle>
            <a:lvl1pPr algn="r"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on area to add picture</a:t>
            </a:r>
          </a:p>
        </p:txBody>
      </p:sp>
      <p:grpSp>
        <p:nvGrpSpPr>
          <p:cNvPr id="104" name="Grid Decoration">
            <a:extLst>
              <a:ext uri="{FF2B5EF4-FFF2-40B4-BE49-F238E27FC236}">
                <a16:creationId xmlns:a16="http://schemas.microsoft.com/office/drawing/2014/main" id="{477C5741-C323-4904-A7E4-C6EE7E7C36B1}"/>
              </a:ext>
            </a:extLst>
          </p:cNvPr>
          <p:cNvGrpSpPr/>
          <p:nvPr/>
        </p:nvGrpSpPr>
        <p:grpSpPr bwMode="ltGray">
          <a:xfrm flipH="1">
            <a:off x="0" y="-12600"/>
            <a:ext cx="12192525" cy="6870600"/>
            <a:chOff x="-525" y="-12600"/>
            <a:chExt cx="12192525" cy="68706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91930DD-37F9-4E5C-AF98-367271E48F65}"/>
                </a:ext>
              </a:extLst>
            </p:cNvPr>
            <p:cNvCxnSpPr/>
            <p:nvPr userDrawn="1"/>
          </p:nvCxnSpPr>
          <p:spPr bwMode="ltGray">
            <a:xfrm>
              <a:off x="0" y="5113338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BECD12-13FA-465C-A5C9-F74D5C72FF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0" y="5348288"/>
              <a:ext cx="41306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7E3B37-8AD5-4342-A01B-490894F55388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582750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FFCDC22-4C05-4409-A1A2-BA40843B63B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5817212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442ECD-8E60-46BA-93E9-034AD2F2952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049963"/>
              <a:ext cx="4131200" cy="171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262152-E536-45B3-B42E-FF64534BE76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286136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3DE0786-0311-432C-BF1C-0FC4484EB54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-525" y="6520598"/>
              <a:ext cx="41312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1A26A46-5A23-4E71-86B8-D42B8AE213D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-525" y="6751638"/>
              <a:ext cx="4131200" cy="3422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932711A-14CB-4B7E-897F-0F43D5E5EA8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130400" y="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550FFE11-2228-4095-8213-B7DF694B07B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071200" y="-126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976BF9B-BA80-4535-9BEE-4C96B17589F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2539800"/>
              <a:ext cx="4118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973A65C-8424-4A10-A797-3CD4EB37252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258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F9D055B9-1151-4A29-8BC8-F226B88C224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884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FC626A0-B95A-4A60-90B8-04C99A492EE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445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D2E554C-FE97-4D2B-BCC1-AB142412B25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632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F3C16FC-5417-4C75-B329-3F86AA17A1A7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2820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75E7C3B-12AE-4BB8-BBB5-6BDED40828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007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68D9680-1780-4095-A6A5-2D3C993B81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194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F97DB5B-2E43-4A4E-8C59-51F0966A413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381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7ACA9E8-0A0A-4BEC-B611-67DE5E820CA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568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03294FB-D050-4427-B3A7-7AB40551D4A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756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6F44C384-B751-406C-BE7A-68C3296941E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943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101">
              <a:extLst>
                <a:ext uri="{FF2B5EF4-FFF2-40B4-BE49-F238E27FC236}">
                  <a16:creationId xmlns:a16="http://schemas.microsoft.com/office/drawing/2014/main" id="{575287CC-10F4-4756-ACFF-FC235CC31B94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696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102">
              <a:extLst>
                <a:ext uri="{FF2B5EF4-FFF2-40B4-BE49-F238E27FC236}">
                  <a16:creationId xmlns:a16="http://schemas.microsoft.com/office/drawing/2014/main" id="{EBBA423D-CED0-4685-B301-48162C9D196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3">
              <a:extLst>
                <a:ext uri="{FF2B5EF4-FFF2-40B4-BE49-F238E27FC236}">
                  <a16:creationId xmlns:a16="http://schemas.microsoft.com/office/drawing/2014/main" id="{EF37AE5F-737F-47BB-8C7C-73008137DF0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2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6AB332B4-661E-480F-B3A7-03A1659F61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35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B801BD6-B64D-436A-A2C8-FE764D59FA3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48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2BFCE8B-EFDD-4BF9-8236-5088DA0366C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7608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C131BE53-9ED4-46DB-8379-0EAF4BA536F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5736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096AB21B-7279-46BA-BE0B-765FFC84504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20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D078673B-947B-4697-BE71-880F0EEF324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992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D75BB555-162A-44B2-96BD-4FB1C1A4B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386400" y="5113800"/>
              <a:ext cx="0" cy="17442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Logo">
            <a:extLst>
              <a:ext uri="{FF2B5EF4-FFF2-40B4-BE49-F238E27FC236}">
                <a16:creationId xmlns:a16="http://schemas.microsoft.com/office/drawing/2014/main" id="{66B4BCD1-6E4A-40C1-85DC-38A5A7EEA082}"/>
              </a:ext>
            </a:extLst>
          </p:cNvPr>
          <p:cNvSpPr>
            <a:spLocks noChangeAspect="1"/>
          </p:cNvSpPr>
          <p:nvPr/>
        </p:nvSpPr>
        <p:spPr bwMode="black">
          <a:xfrm>
            <a:off x="5992870" y="433388"/>
            <a:ext cx="1694330" cy="468412"/>
          </a:xfrm>
          <a:custGeom>
            <a:avLst/>
            <a:gdLst>
              <a:gd name="connsiteX0" fmla="*/ 322580 w 2575560"/>
              <a:gd name="connsiteY0" fmla="*/ 171554 h 719869"/>
              <a:gd name="connsiteX1" fmla="*/ 261620 w 2575560"/>
              <a:gd name="connsiteY1" fmla="*/ 452224 h 719869"/>
              <a:gd name="connsiteX2" fmla="*/ 384810 w 2575560"/>
              <a:gd name="connsiteY2" fmla="*/ 452224 h 719869"/>
              <a:gd name="connsiteX3" fmla="*/ 941070 w 2575560"/>
              <a:gd name="connsiteY3" fmla="*/ 157584 h 719869"/>
              <a:gd name="connsiteX4" fmla="*/ 892810 w 2575560"/>
              <a:gd name="connsiteY4" fmla="*/ 212194 h 719869"/>
              <a:gd name="connsiteX5" fmla="*/ 998220 w 2575560"/>
              <a:gd name="connsiteY5" fmla="*/ 293474 h 719869"/>
              <a:gd name="connsiteX6" fmla="*/ 1195070 w 2575560"/>
              <a:gd name="connsiteY6" fmla="*/ 500484 h 719869"/>
              <a:gd name="connsiteX7" fmla="*/ 1009650 w 2575560"/>
              <a:gd name="connsiteY7" fmla="*/ 703684 h 719869"/>
              <a:gd name="connsiteX8" fmla="*/ 687070 w 2575560"/>
              <a:gd name="connsiteY8" fmla="*/ 671934 h 719869"/>
              <a:gd name="connsiteX9" fmla="*/ 687070 w 2575560"/>
              <a:gd name="connsiteY9" fmla="*/ 506834 h 719869"/>
              <a:gd name="connsiteX10" fmla="*/ 876300 w 2575560"/>
              <a:gd name="connsiteY10" fmla="*/ 577954 h 719869"/>
              <a:gd name="connsiteX11" fmla="*/ 981710 w 2575560"/>
              <a:gd name="connsiteY11" fmla="*/ 500484 h 719869"/>
              <a:gd name="connsiteX12" fmla="*/ 909320 w 2575560"/>
              <a:gd name="connsiteY12" fmla="*/ 420474 h 719869"/>
              <a:gd name="connsiteX13" fmla="*/ 941070 w 2575560"/>
              <a:gd name="connsiteY13" fmla="*/ 157584 h 719869"/>
              <a:gd name="connsiteX14" fmla="*/ 2136140 w 2575560"/>
              <a:gd name="connsiteY14" fmla="*/ 20424 h 719869"/>
              <a:gd name="connsiteX15" fmla="*/ 2321560 w 2575560"/>
              <a:gd name="connsiteY15" fmla="*/ 20424 h 719869"/>
              <a:gd name="connsiteX16" fmla="*/ 2321560 w 2575560"/>
              <a:gd name="connsiteY16" fmla="*/ 562714 h 719869"/>
              <a:gd name="connsiteX17" fmla="*/ 2575560 w 2575560"/>
              <a:gd name="connsiteY17" fmla="*/ 562714 h 719869"/>
              <a:gd name="connsiteX18" fmla="*/ 2575560 w 2575560"/>
              <a:gd name="connsiteY18" fmla="*/ 706224 h 719869"/>
              <a:gd name="connsiteX19" fmla="*/ 2136140 w 2575560"/>
              <a:gd name="connsiteY19" fmla="*/ 706224 h 719869"/>
              <a:gd name="connsiteX20" fmla="*/ 1346200 w 2575560"/>
              <a:gd name="connsiteY20" fmla="*/ 20424 h 719869"/>
              <a:gd name="connsiteX21" fmla="*/ 1551940 w 2575560"/>
              <a:gd name="connsiteY21" fmla="*/ 20424 h 719869"/>
              <a:gd name="connsiteX22" fmla="*/ 1648460 w 2575560"/>
              <a:gd name="connsiteY22" fmla="*/ 431904 h 719869"/>
              <a:gd name="connsiteX23" fmla="*/ 1743710 w 2575560"/>
              <a:gd name="connsiteY23" fmla="*/ 20424 h 719869"/>
              <a:gd name="connsiteX24" fmla="*/ 1950720 w 2575560"/>
              <a:gd name="connsiteY24" fmla="*/ 20424 h 719869"/>
              <a:gd name="connsiteX25" fmla="*/ 2039620 w 2575560"/>
              <a:gd name="connsiteY25" fmla="*/ 706224 h 719869"/>
              <a:gd name="connsiteX26" fmla="*/ 1846580 w 2575560"/>
              <a:gd name="connsiteY26" fmla="*/ 706224 h 719869"/>
              <a:gd name="connsiteX27" fmla="*/ 1813560 w 2575560"/>
              <a:gd name="connsiteY27" fmla="*/ 274424 h 719869"/>
              <a:gd name="connsiteX28" fmla="*/ 1723390 w 2575560"/>
              <a:gd name="connsiteY28" fmla="*/ 706224 h 719869"/>
              <a:gd name="connsiteX29" fmla="*/ 1572260 w 2575560"/>
              <a:gd name="connsiteY29" fmla="*/ 706224 h 719869"/>
              <a:gd name="connsiteX30" fmla="*/ 1483360 w 2575560"/>
              <a:gd name="connsiteY30" fmla="*/ 274424 h 719869"/>
              <a:gd name="connsiteX31" fmla="*/ 1449070 w 2575560"/>
              <a:gd name="connsiteY31" fmla="*/ 706224 h 719869"/>
              <a:gd name="connsiteX32" fmla="*/ 1257300 w 2575560"/>
              <a:gd name="connsiteY32" fmla="*/ 706224 h 719869"/>
              <a:gd name="connsiteX33" fmla="*/ 205740 w 2575560"/>
              <a:gd name="connsiteY33" fmla="*/ 20424 h 719869"/>
              <a:gd name="connsiteX34" fmla="*/ 439420 w 2575560"/>
              <a:gd name="connsiteY34" fmla="*/ 20424 h 719869"/>
              <a:gd name="connsiteX35" fmla="*/ 645160 w 2575560"/>
              <a:gd name="connsiteY35" fmla="*/ 706224 h 719869"/>
              <a:gd name="connsiteX36" fmla="*/ 439420 w 2575560"/>
              <a:gd name="connsiteY36" fmla="*/ 706224 h 719869"/>
              <a:gd name="connsiteX37" fmla="*/ 411480 w 2575560"/>
              <a:gd name="connsiteY37" fmla="*/ 583034 h 719869"/>
              <a:gd name="connsiteX38" fmla="*/ 232410 w 2575560"/>
              <a:gd name="connsiteY38" fmla="*/ 583034 h 719869"/>
              <a:gd name="connsiteX39" fmla="*/ 204470 w 2575560"/>
              <a:gd name="connsiteY39" fmla="*/ 706224 h 719869"/>
              <a:gd name="connsiteX40" fmla="*/ 0 w 2575560"/>
              <a:gd name="connsiteY40" fmla="*/ 706224 h 719869"/>
              <a:gd name="connsiteX41" fmla="*/ 994112 w 2575560"/>
              <a:gd name="connsiteY41" fmla="*/ 422 h 719869"/>
              <a:gd name="connsiteX42" fmla="*/ 1140459 w 2575560"/>
              <a:gd name="connsiteY42" fmla="*/ 34395 h 719869"/>
              <a:gd name="connsiteX43" fmla="*/ 1140459 w 2575560"/>
              <a:gd name="connsiteY43" fmla="*/ 212195 h 719869"/>
              <a:gd name="connsiteX44" fmla="*/ 701040 w 2575560"/>
              <a:gd name="connsiteY44" fmla="*/ 260455 h 719869"/>
              <a:gd name="connsiteX45" fmla="*/ 994112 w 2575560"/>
              <a:gd name="connsiteY45" fmla="*/ 422 h 7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575560" h="719869">
                <a:moveTo>
                  <a:pt x="322580" y="171554"/>
                </a:moveTo>
                <a:lnTo>
                  <a:pt x="261620" y="452224"/>
                </a:lnTo>
                <a:lnTo>
                  <a:pt x="384810" y="452224"/>
                </a:lnTo>
                <a:close/>
                <a:moveTo>
                  <a:pt x="941070" y="157584"/>
                </a:moveTo>
                <a:cubicBezTo>
                  <a:pt x="900430" y="170284"/>
                  <a:pt x="892810" y="191874"/>
                  <a:pt x="892810" y="212194"/>
                </a:cubicBezTo>
                <a:cubicBezTo>
                  <a:pt x="892810" y="261724"/>
                  <a:pt x="955040" y="276964"/>
                  <a:pt x="998220" y="293474"/>
                </a:cubicBezTo>
                <a:cubicBezTo>
                  <a:pt x="1069340" y="320144"/>
                  <a:pt x="1195070" y="355704"/>
                  <a:pt x="1195070" y="500484"/>
                </a:cubicBezTo>
                <a:cubicBezTo>
                  <a:pt x="1195070" y="589384"/>
                  <a:pt x="1109980" y="673204"/>
                  <a:pt x="1009650" y="703684"/>
                </a:cubicBezTo>
                <a:cubicBezTo>
                  <a:pt x="885190" y="741784"/>
                  <a:pt x="763270" y="704954"/>
                  <a:pt x="687070" y="671934"/>
                </a:cubicBezTo>
                <a:lnTo>
                  <a:pt x="687070" y="506834"/>
                </a:lnTo>
                <a:cubicBezTo>
                  <a:pt x="750570" y="552554"/>
                  <a:pt x="806450" y="576684"/>
                  <a:pt x="876300" y="577954"/>
                </a:cubicBezTo>
                <a:cubicBezTo>
                  <a:pt x="918210" y="579224"/>
                  <a:pt x="981710" y="558904"/>
                  <a:pt x="981710" y="500484"/>
                </a:cubicBezTo>
                <a:cubicBezTo>
                  <a:pt x="981710" y="449684"/>
                  <a:pt x="935990" y="434444"/>
                  <a:pt x="909320" y="420474"/>
                </a:cubicBezTo>
                <a:cubicBezTo>
                  <a:pt x="758190" y="337924"/>
                  <a:pt x="803910" y="171554"/>
                  <a:pt x="941070" y="157584"/>
                </a:cubicBezTo>
                <a:close/>
                <a:moveTo>
                  <a:pt x="2136140" y="20424"/>
                </a:moveTo>
                <a:lnTo>
                  <a:pt x="2321560" y="20424"/>
                </a:lnTo>
                <a:lnTo>
                  <a:pt x="2321560" y="562714"/>
                </a:lnTo>
                <a:lnTo>
                  <a:pt x="2575560" y="562714"/>
                </a:lnTo>
                <a:lnTo>
                  <a:pt x="2575560" y="706224"/>
                </a:lnTo>
                <a:lnTo>
                  <a:pt x="2136140" y="706224"/>
                </a:lnTo>
                <a:close/>
                <a:moveTo>
                  <a:pt x="1346200" y="20424"/>
                </a:moveTo>
                <a:lnTo>
                  <a:pt x="1551940" y="20424"/>
                </a:lnTo>
                <a:lnTo>
                  <a:pt x="1648460" y="431904"/>
                </a:lnTo>
                <a:lnTo>
                  <a:pt x="1743710" y="20424"/>
                </a:lnTo>
                <a:lnTo>
                  <a:pt x="1950720" y="20424"/>
                </a:lnTo>
                <a:lnTo>
                  <a:pt x="2039620" y="706224"/>
                </a:lnTo>
                <a:lnTo>
                  <a:pt x="1846580" y="706224"/>
                </a:lnTo>
                <a:lnTo>
                  <a:pt x="1813560" y="274424"/>
                </a:lnTo>
                <a:lnTo>
                  <a:pt x="1723390" y="706224"/>
                </a:lnTo>
                <a:lnTo>
                  <a:pt x="1572260" y="706224"/>
                </a:lnTo>
                <a:lnTo>
                  <a:pt x="1483360" y="274424"/>
                </a:lnTo>
                <a:lnTo>
                  <a:pt x="1449070" y="706224"/>
                </a:lnTo>
                <a:lnTo>
                  <a:pt x="1257300" y="706224"/>
                </a:lnTo>
                <a:close/>
                <a:moveTo>
                  <a:pt x="205740" y="20424"/>
                </a:moveTo>
                <a:lnTo>
                  <a:pt x="439420" y="20424"/>
                </a:lnTo>
                <a:lnTo>
                  <a:pt x="645160" y="706224"/>
                </a:lnTo>
                <a:lnTo>
                  <a:pt x="439420" y="706224"/>
                </a:lnTo>
                <a:lnTo>
                  <a:pt x="411480" y="583034"/>
                </a:lnTo>
                <a:lnTo>
                  <a:pt x="232410" y="583034"/>
                </a:lnTo>
                <a:lnTo>
                  <a:pt x="204470" y="706224"/>
                </a:lnTo>
                <a:lnTo>
                  <a:pt x="0" y="706224"/>
                </a:lnTo>
                <a:close/>
                <a:moveTo>
                  <a:pt x="994112" y="422"/>
                </a:moveTo>
                <a:cubicBezTo>
                  <a:pt x="1046321" y="2724"/>
                  <a:pt x="1097597" y="14392"/>
                  <a:pt x="1140459" y="34395"/>
                </a:cubicBezTo>
                <a:cubicBezTo>
                  <a:pt x="1143000" y="75035"/>
                  <a:pt x="1146809" y="118215"/>
                  <a:pt x="1140459" y="212195"/>
                </a:cubicBezTo>
                <a:cubicBezTo>
                  <a:pt x="970280" y="63605"/>
                  <a:pt x="703580" y="123295"/>
                  <a:pt x="701040" y="260455"/>
                </a:cubicBezTo>
                <a:cubicBezTo>
                  <a:pt x="672465" y="70907"/>
                  <a:pt x="837486" y="-6483"/>
                  <a:pt x="994112" y="42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MIO_AGENDA_IGNORE_NAVIGATION" hidden="1">
            <a:extLst>
              <a:ext uri="{FF2B5EF4-FFF2-40B4-BE49-F238E27FC236}">
                <a16:creationId xmlns:a16="http://schemas.microsoft.com/office/drawing/2014/main" id="{FDC5ACF3-2095-4CCB-B69B-BAAD8356247F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9" name="MIO_AGENDA_IGNORE_CHAPTER_REFERENCE" hidden="1">
            <a:extLst>
              <a:ext uri="{FF2B5EF4-FFF2-40B4-BE49-F238E27FC236}">
                <a16:creationId xmlns:a16="http://schemas.microsoft.com/office/drawing/2014/main" id="{C759E26B-7FE4-470B-BFA8-6BC2F2DCC023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0" name="Date Placeholder">
            <a:extLst>
              <a:ext uri="{FF2B5EF4-FFF2-40B4-BE49-F238E27FC236}">
                <a16:creationId xmlns:a16="http://schemas.microsoft.com/office/drawing/2014/main" id="{647B78B9-A503-40FD-AF98-15AB8F88095A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386926" y="3614462"/>
            <a:ext cx="5849475" cy="422938"/>
          </a:xfrm>
        </p:spPr>
        <p:txBody>
          <a:bodyPr wrap="square" anchor="b">
            <a:spAutoFit/>
          </a:bodyPr>
          <a:lstStyle>
            <a:lvl1pPr algn="l" defTabSz="374400">
              <a:lnSpc>
                <a:spcPct val="95000"/>
              </a:lnSpc>
              <a:spcAft>
                <a:spcPts val="737"/>
              </a:spcAft>
              <a:defRPr sz="1600" b="0" baseline="0">
                <a:solidFill>
                  <a:schemeClr val="bg1"/>
                </a:solidFill>
              </a:defRPr>
            </a:lvl1pPr>
          </a:lstStyle>
          <a:p>
            <a:fld id="{C66D73C7-993F-4C03-B710-2144807F30C5}" type="datetime4">
              <a:rPr lang="en-US"/>
              <a:pPr/>
              <a:t>March 25, 2024</a:t>
            </a:fld>
            <a:endParaRPr lang="en-US" dirty="0"/>
          </a:p>
        </p:txBody>
      </p:sp>
      <p:sp>
        <p:nvSpPr>
          <p:cNvPr id="56" name="Title">
            <a:extLst>
              <a:ext uri="{FF2B5EF4-FFF2-40B4-BE49-F238E27FC236}">
                <a16:creationId xmlns:a16="http://schemas.microsoft.com/office/drawing/2014/main" id="{C6842291-ECA2-419F-9FDE-5F0D1C885C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6926" y="2025000"/>
            <a:ext cx="5849475" cy="467820"/>
          </a:xfrm>
        </p:spPr>
        <p:txBody>
          <a:bodyPr tIns="0" bIns="0" anchor="b"/>
          <a:lstStyle>
            <a:lvl1pPr algn="l" defTabSz="374400">
              <a:lnSpc>
                <a:spcPct val="95000"/>
              </a:lnSpc>
              <a:spcAft>
                <a:spcPts val="0"/>
              </a:spcAft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ing</a:t>
            </a:r>
          </a:p>
        </p:txBody>
      </p:sp>
      <p:sp>
        <p:nvSpPr>
          <p:cNvPr id="57" name="Subtitle">
            <a:extLst>
              <a:ext uri="{FF2B5EF4-FFF2-40B4-BE49-F238E27FC236}">
                <a16:creationId xmlns:a16="http://schemas.microsoft.com/office/drawing/2014/main" id="{2F1235BC-9462-4616-91F5-2C03AA429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926" y="2492819"/>
            <a:ext cx="5849475" cy="371784"/>
          </a:xfrm>
        </p:spPr>
        <p:txBody>
          <a:bodyPr wrap="square" tIns="3600">
            <a:noAutofit/>
          </a:bodyPr>
          <a:lstStyle>
            <a:lvl1pPr>
              <a:defRPr sz="2400" b="1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edit subheading</a:t>
            </a:r>
          </a:p>
        </p:txBody>
      </p:sp>
      <p:sp>
        <p:nvSpPr>
          <p:cNvPr id="58" name="Firstname Lastname">
            <a:extLst>
              <a:ext uri="{FF2B5EF4-FFF2-40B4-BE49-F238E27FC236}">
                <a16:creationId xmlns:a16="http://schemas.microsoft.com/office/drawing/2014/main" id="{65DFEF20-E93B-4E47-9759-0A3251D2E56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6400" y="3101490"/>
            <a:ext cx="5850000" cy="2312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59" name="Position and Title">
            <a:extLst>
              <a:ext uri="{FF2B5EF4-FFF2-40B4-BE49-F238E27FC236}">
                <a16:creationId xmlns:a16="http://schemas.microsoft.com/office/drawing/2014/main" id="{EDD67CC3-05DB-42F1-8C06-E35E36F16A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86400" y="3335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sition and Title</a:t>
            </a:r>
          </a:p>
        </p:txBody>
      </p:sp>
      <p:sp>
        <p:nvSpPr>
          <p:cNvPr id="61" name="Location">
            <a:extLst>
              <a:ext uri="{FF2B5EF4-FFF2-40B4-BE49-F238E27FC236}">
                <a16:creationId xmlns:a16="http://schemas.microsoft.com/office/drawing/2014/main" id="{C42A08FB-7D66-4F1F-B6EE-667DA0F0E6F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86400" y="4037400"/>
            <a:ext cx="5850000" cy="23391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ocation</a:t>
            </a:r>
          </a:p>
        </p:txBody>
      </p:sp>
      <p:sp>
        <p:nvSpPr>
          <p:cNvPr id="62" name="Version">
            <a:extLst>
              <a:ext uri="{FF2B5EF4-FFF2-40B4-BE49-F238E27FC236}">
                <a16:creationId xmlns:a16="http://schemas.microsoft.com/office/drawing/2014/main" id="{0A2C16C9-903A-4D1F-8880-2E77A8AEC44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86400" y="4645800"/>
            <a:ext cx="4867200" cy="280800"/>
          </a:xfrm>
          <a:noFill/>
        </p:spPr>
        <p:txBody>
          <a:bodyPr wrap="square" lIns="0" tIns="0" rIns="0" bIns="0" rtlCol="0" anchor="ctr" anchorCtr="0">
            <a:noAutofit/>
          </a:bodyPr>
          <a:lstStyle>
            <a:lvl1pPr>
              <a:defRPr lang="en-US" sz="1200" b="0" cap="all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5000"/>
              </a:lnSpc>
            </a:pPr>
            <a:r>
              <a:rPr lang="en-US" dirty="0"/>
              <a:t>VERSION</a:t>
            </a:r>
          </a:p>
        </p:txBody>
      </p:sp>
    </p:spTree>
    <p:extLst>
      <p:ext uri="{BB962C8B-B14F-4D97-AF65-F5344CB8AC3E}">
        <p14:creationId xmlns:p14="http://schemas.microsoft.com/office/powerpoint/2010/main" val="3843711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3958">
          <p15:clr>
            <a:srgbClr val="FFFFFF"/>
          </p15:clr>
        </p15:guide>
        <p15:guide id="2" orient="horz" pos="1276">
          <p15:clr>
            <a:srgbClr val="FFFFFF"/>
          </p15:clr>
        </p15:guide>
        <p15:guide id="3" orient="horz" pos="1570">
          <p15:clr>
            <a:srgbClr val="FFFFFF"/>
          </p15:clr>
        </p15:guide>
        <p15:guide id="4" orient="horz" pos="1806">
          <p15:clr>
            <a:srgbClr val="FFFFFF"/>
          </p15:clr>
        </p15:guide>
        <p15:guide id="5" pos="243">
          <p15:clr>
            <a:srgbClr val="FFFF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1" type="secHead" preserve="1">
  <p:cSld name="Chapter Slide 1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Hide background Logo">
            <a:extLst>
              <a:ext uri="{FF2B5EF4-FFF2-40B4-BE49-F238E27FC236}">
                <a16:creationId xmlns:a16="http://schemas.microsoft.com/office/drawing/2014/main" id="{9AA93AB3-0D1A-4E84-9AA9-73865D3A1A0A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512D9B27-7620-4033-B8DC-DCFE3B066C86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248800" y="0"/>
            <a:ext cx="39432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88860927-13CA-4929-8F7F-EB0BA3BEB9A3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3F8F58E6-264F-49BF-B46C-3E566C1C4182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Logo">
            <a:extLst>
              <a:ext uri="{FF2B5EF4-FFF2-40B4-BE49-F238E27FC236}">
                <a16:creationId xmlns:a16="http://schemas.microsoft.com/office/drawing/2014/main" id="{5307DD17-86A9-4B5C-B16C-3B30F4057276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08120-FAE8-4FF8-8A74-A6392B5F43E4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4FE53AA8-8205-44C6-AA7D-3538EAC0F1CD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AF603-2E05-4A18-BD07-01E2B59E61BF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B2B88A-C108-43E1-99A0-51A5C6561ABA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05769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orient="horz" pos="509">
          <p15:clr>
            <a:srgbClr val="FFFFFF"/>
          </p15:clr>
        </p15:guide>
        <p15:guide id="2" pos="243">
          <p15:clr>
            <a:srgbClr val="FFFFFF"/>
          </p15:clr>
        </p15:guide>
        <p15:guide id="3" pos="4960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2 &#10;light picture" preserve="1" userDrawn="1">
  <p:cSld name="Chapt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id Decoration">
            <a:extLst>
              <a:ext uri="{FF2B5EF4-FFF2-40B4-BE49-F238E27FC236}">
                <a16:creationId xmlns:a16="http://schemas.microsoft.com/office/drawing/2014/main" id="{774E18E1-C992-4162-B1EC-0650D0B80336}"/>
              </a:ext>
            </a:extLst>
          </p:cNvPr>
          <p:cNvGrpSpPr/>
          <p:nvPr/>
        </p:nvGrpSpPr>
        <p:grpSpPr bwMode="ltGray">
          <a:xfrm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06B1598-EDE8-474C-8616-E3E2BC9D0CB7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AA6FC05-D72B-4CDF-9B4A-9BE92C162CE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879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6D5A539-C0D0-42F3-A3B4-8CEC059911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6FB3BC4-9371-4632-BD28-7EC33F31679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525" y="-446400"/>
              <a:ext cx="0" cy="6858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001F0BA-4780-4F20-803F-796D2E3378D5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3720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AB56068-0BA8-4D06-A50F-762DBC25FB2E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4952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3E28C3A0-91EB-4D53-81C1-DD748B4B349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6184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3CBFA43-A9E2-41D1-87ED-6D96CE297E41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232696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F9E1E8C-89B5-43FC-BFAD-F6B7083D66B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248800" y="3730520"/>
              <a:ext cx="39444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866AB9E-A9F5-4723-8306-82FCCE684AE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509600" y="-446400"/>
              <a:ext cx="0" cy="55818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A8B8685-B671-45FF-BA2F-31E0A822350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453507 w 12192000"/>
              <a:gd name="connsiteY0" fmla="*/ 6548544 h 6858000"/>
              <a:gd name="connsiteX1" fmla="*/ 466171 w 12192000"/>
              <a:gd name="connsiteY1" fmla="*/ 6607426 h 6858000"/>
              <a:gd name="connsiteX2" fmla="*/ 440212 w 12192000"/>
              <a:gd name="connsiteY2" fmla="*/ 6607426 h 6858000"/>
              <a:gd name="connsiteX3" fmla="*/ 582667 w 12192000"/>
              <a:gd name="connsiteY3" fmla="*/ 6546012 h 6858000"/>
              <a:gd name="connsiteX4" fmla="*/ 576335 w 12192000"/>
              <a:gd name="connsiteY4" fmla="*/ 6601094 h 6858000"/>
              <a:gd name="connsiteX5" fmla="*/ 591531 w 12192000"/>
              <a:gd name="connsiteY5" fmla="*/ 6617556 h 6858000"/>
              <a:gd name="connsiteX6" fmla="*/ 569371 w 12192000"/>
              <a:gd name="connsiteY6" fmla="*/ 6634017 h 6858000"/>
              <a:gd name="connsiteX7" fmla="*/ 529483 w 12192000"/>
              <a:gd name="connsiteY7" fmla="*/ 6619455 h 6858000"/>
              <a:gd name="connsiteX8" fmla="*/ 529483 w 12192000"/>
              <a:gd name="connsiteY8" fmla="*/ 6653645 h 6858000"/>
              <a:gd name="connsiteX9" fmla="*/ 596596 w 12192000"/>
              <a:gd name="connsiteY9" fmla="*/ 6660609 h 6858000"/>
              <a:gd name="connsiteX10" fmla="*/ 635217 w 12192000"/>
              <a:gd name="connsiteY10" fmla="*/ 6618189 h 6858000"/>
              <a:gd name="connsiteX11" fmla="*/ 594696 w 12192000"/>
              <a:gd name="connsiteY11" fmla="*/ 6574503 h 6858000"/>
              <a:gd name="connsiteX12" fmla="*/ 572537 w 12192000"/>
              <a:gd name="connsiteY12" fmla="*/ 6557408 h 6858000"/>
              <a:gd name="connsiteX13" fmla="*/ 582667 w 12192000"/>
              <a:gd name="connsiteY13" fmla="*/ 6546012 h 6858000"/>
              <a:gd name="connsiteX14" fmla="*/ 832120 w 12192000"/>
              <a:gd name="connsiteY14" fmla="*/ 6517521 h 6858000"/>
              <a:gd name="connsiteX15" fmla="*/ 832120 w 12192000"/>
              <a:gd name="connsiteY15" fmla="*/ 6660609 h 6858000"/>
              <a:gd name="connsiteX16" fmla="*/ 923924 w 12192000"/>
              <a:gd name="connsiteY16" fmla="*/ 6660609 h 6858000"/>
              <a:gd name="connsiteX17" fmla="*/ 923924 w 12192000"/>
              <a:gd name="connsiteY17" fmla="*/ 6630852 h 6858000"/>
              <a:gd name="connsiteX18" fmla="*/ 871374 w 12192000"/>
              <a:gd name="connsiteY18" fmla="*/ 6630852 h 6858000"/>
              <a:gd name="connsiteX19" fmla="*/ 871374 w 12192000"/>
              <a:gd name="connsiteY19" fmla="*/ 6517521 h 6858000"/>
              <a:gd name="connsiteX20" fmla="*/ 667506 w 12192000"/>
              <a:gd name="connsiteY20" fmla="*/ 6517521 h 6858000"/>
              <a:gd name="connsiteX21" fmla="*/ 648513 w 12192000"/>
              <a:gd name="connsiteY21" fmla="*/ 6660609 h 6858000"/>
              <a:gd name="connsiteX22" fmla="*/ 689033 w 12192000"/>
              <a:gd name="connsiteY22" fmla="*/ 6660609 h 6858000"/>
              <a:gd name="connsiteX23" fmla="*/ 695997 w 12192000"/>
              <a:gd name="connsiteY23" fmla="*/ 6570071 h 6858000"/>
              <a:gd name="connsiteX24" fmla="*/ 714358 w 12192000"/>
              <a:gd name="connsiteY24" fmla="*/ 6660609 h 6858000"/>
              <a:gd name="connsiteX25" fmla="*/ 746014 w 12192000"/>
              <a:gd name="connsiteY25" fmla="*/ 6660609 h 6858000"/>
              <a:gd name="connsiteX26" fmla="*/ 765009 w 12192000"/>
              <a:gd name="connsiteY26" fmla="*/ 6570071 h 6858000"/>
              <a:gd name="connsiteX27" fmla="*/ 771973 w 12192000"/>
              <a:gd name="connsiteY27" fmla="*/ 6660609 h 6858000"/>
              <a:gd name="connsiteX28" fmla="*/ 812493 w 12192000"/>
              <a:gd name="connsiteY28" fmla="*/ 6660609 h 6858000"/>
              <a:gd name="connsiteX29" fmla="*/ 793500 w 12192000"/>
              <a:gd name="connsiteY29" fmla="*/ 6517521 h 6858000"/>
              <a:gd name="connsiteX30" fmla="*/ 750446 w 12192000"/>
              <a:gd name="connsiteY30" fmla="*/ 6517521 h 6858000"/>
              <a:gd name="connsiteX31" fmla="*/ 730187 w 12192000"/>
              <a:gd name="connsiteY31" fmla="*/ 6603627 h 6858000"/>
              <a:gd name="connsiteX32" fmla="*/ 710559 w 12192000"/>
              <a:gd name="connsiteY32" fmla="*/ 6517521 h 6858000"/>
              <a:gd name="connsiteX33" fmla="*/ 428816 w 12192000"/>
              <a:gd name="connsiteY33" fmla="*/ 6517521 h 6858000"/>
              <a:gd name="connsiteX34" fmla="*/ 385763 w 12192000"/>
              <a:gd name="connsiteY34" fmla="*/ 6660609 h 6858000"/>
              <a:gd name="connsiteX35" fmla="*/ 428816 w 12192000"/>
              <a:gd name="connsiteY35" fmla="*/ 6660609 h 6858000"/>
              <a:gd name="connsiteX36" fmla="*/ 434514 w 12192000"/>
              <a:gd name="connsiteY36" fmla="*/ 6634651 h 6858000"/>
              <a:gd name="connsiteX37" fmla="*/ 471869 w 12192000"/>
              <a:gd name="connsiteY37" fmla="*/ 6634651 h 6858000"/>
              <a:gd name="connsiteX38" fmla="*/ 477567 w 12192000"/>
              <a:gd name="connsiteY38" fmla="*/ 6660609 h 6858000"/>
              <a:gd name="connsiteX39" fmla="*/ 520620 w 12192000"/>
              <a:gd name="connsiteY39" fmla="*/ 6660609 h 6858000"/>
              <a:gd name="connsiteX40" fmla="*/ 477567 w 12192000"/>
              <a:gd name="connsiteY40" fmla="*/ 6517521 h 6858000"/>
              <a:gd name="connsiteX41" fmla="*/ 593728 w 12192000"/>
              <a:gd name="connsiteY41" fmla="*/ 6513050 h 6858000"/>
              <a:gd name="connsiteX42" fmla="*/ 532650 w 12192000"/>
              <a:gd name="connsiteY42" fmla="*/ 6567538 h 6858000"/>
              <a:gd name="connsiteX43" fmla="*/ 624454 w 12192000"/>
              <a:gd name="connsiteY43" fmla="*/ 6557409 h 6858000"/>
              <a:gd name="connsiteX44" fmla="*/ 624454 w 12192000"/>
              <a:gd name="connsiteY44" fmla="*/ 6520054 h 6858000"/>
              <a:gd name="connsiteX45" fmla="*/ 593728 w 12192000"/>
              <a:gd name="connsiteY45" fmla="*/ 6513050 h 6858000"/>
              <a:gd name="connsiteX46" fmla="*/ 8248799 w 12192000"/>
              <a:gd name="connsiteY46" fmla="*/ 5588150 h 6858000"/>
              <a:gd name="connsiteX47" fmla="*/ 12192000 w 12192000"/>
              <a:gd name="connsiteY47" fmla="*/ 5588150 h 6858000"/>
              <a:gd name="connsiteX48" fmla="*/ 12192000 w 12192000"/>
              <a:gd name="connsiteY48" fmla="*/ 6858000 h 6858000"/>
              <a:gd name="connsiteX49" fmla="*/ 8248799 w 12192000"/>
              <a:gd name="connsiteY49" fmla="*/ 6858000 h 6858000"/>
              <a:gd name="connsiteX50" fmla="*/ 0 w 12192000"/>
              <a:gd name="connsiteY50" fmla="*/ 5588150 h 6858000"/>
              <a:gd name="connsiteX51" fmla="*/ 8242449 w 12192000"/>
              <a:gd name="connsiteY51" fmla="*/ 5588150 h 6858000"/>
              <a:gd name="connsiteX52" fmla="*/ 8242449 w 12192000"/>
              <a:gd name="connsiteY52" fmla="*/ 6858000 h 6858000"/>
              <a:gd name="connsiteX53" fmla="*/ 0 w 12192000"/>
              <a:gd name="connsiteY53" fmla="*/ 6858000 h 6858000"/>
              <a:gd name="connsiteX54" fmla="*/ 8248799 w 12192000"/>
              <a:gd name="connsiteY54" fmla="*/ 0 h 6858000"/>
              <a:gd name="connsiteX55" fmla="*/ 12192000 w 12192000"/>
              <a:gd name="connsiteY55" fmla="*/ 0 h 6858000"/>
              <a:gd name="connsiteX56" fmla="*/ 12192000 w 12192000"/>
              <a:gd name="connsiteY56" fmla="*/ 5581800 h 6858000"/>
              <a:gd name="connsiteX57" fmla="*/ 8248799 w 12192000"/>
              <a:gd name="connsiteY57" fmla="*/ 5581800 h 6858000"/>
              <a:gd name="connsiteX58" fmla="*/ 0 w 12192000"/>
              <a:gd name="connsiteY58" fmla="*/ 0 h 6858000"/>
              <a:gd name="connsiteX59" fmla="*/ 8242449 w 12192000"/>
              <a:gd name="connsiteY59" fmla="*/ 0 h 6858000"/>
              <a:gd name="connsiteX60" fmla="*/ 8242449 w 12192000"/>
              <a:gd name="connsiteY60" fmla="*/ 5581800 h 6858000"/>
              <a:gd name="connsiteX61" fmla="*/ 0 w 12192000"/>
              <a:gd name="connsiteY61" fmla="*/ 5581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58000">
                <a:moveTo>
                  <a:pt x="453507" y="6548544"/>
                </a:moveTo>
                <a:lnTo>
                  <a:pt x="466171" y="6607426"/>
                </a:lnTo>
                <a:lnTo>
                  <a:pt x="440212" y="6607426"/>
                </a:lnTo>
                <a:close/>
                <a:moveTo>
                  <a:pt x="582667" y="6546012"/>
                </a:moveTo>
                <a:cubicBezTo>
                  <a:pt x="554176" y="6549177"/>
                  <a:pt x="544679" y="6584000"/>
                  <a:pt x="576335" y="6601094"/>
                </a:cubicBezTo>
                <a:cubicBezTo>
                  <a:pt x="582034" y="6604260"/>
                  <a:pt x="591531" y="6607426"/>
                  <a:pt x="591531" y="6617556"/>
                </a:cubicBezTo>
                <a:cubicBezTo>
                  <a:pt x="591531" y="6629585"/>
                  <a:pt x="578235" y="6634017"/>
                  <a:pt x="569371" y="6634017"/>
                </a:cubicBezTo>
                <a:cubicBezTo>
                  <a:pt x="554809" y="6634017"/>
                  <a:pt x="542780" y="6628319"/>
                  <a:pt x="529483" y="6619455"/>
                </a:cubicBezTo>
                <a:lnTo>
                  <a:pt x="529483" y="6653645"/>
                </a:lnTo>
                <a:cubicBezTo>
                  <a:pt x="545312" y="6660609"/>
                  <a:pt x="571271" y="6668207"/>
                  <a:pt x="596596" y="6660609"/>
                </a:cubicBezTo>
                <a:cubicBezTo>
                  <a:pt x="617489" y="6654277"/>
                  <a:pt x="635217" y="6636550"/>
                  <a:pt x="635217" y="6618189"/>
                </a:cubicBezTo>
                <a:cubicBezTo>
                  <a:pt x="635851" y="6587165"/>
                  <a:pt x="609258" y="6580201"/>
                  <a:pt x="594696" y="6574503"/>
                </a:cubicBezTo>
                <a:cubicBezTo>
                  <a:pt x="585832" y="6570704"/>
                  <a:pt x="572537" y="6567538"/>
                  <a:pt x="572537" y="6557408"/>
                </a:cubicBezTo>
                <a:cubicBezTo>
                  <a:pt x="572537" y="6552976"/>
                  <a:pt x="574436" y="6548544"/>
                  <a:pt x="582667" y="6546012"/>
                </a:cubicBezTo>
                <a:close/>
                <a:moveTo>
                  <a:pt x="832120" y="6517521"/>
                </a:moveTo>
                <a:lnTo>
                  <a:pt x="832120" y="6660609"/>
                </a:lnTo>
                <a:lnTo>
                  <a:pt x="923924" y="6660609"/>
                </a:lnTo>
                <a:lnTo>
                  <a:pt x="923924" y="6630852"/>
                </a:lnTo>
                <a:lnTo>
                  <a:pt x="871374" y="6630852"/>
                </a:lnTo>
                <a:lnTo>
                  <a:pt x="871374" y="6517521"/>
                </a:lnTo>
                <a:close/>
                <a:moveTo>
                  <a:pt x="667506" y="6517521"/>
                </a:moveTo>
                <a:lnTo>
                  <a:pt x="648513" y="6660609"/>
                </a:lnTo>
                <a:lnTo>
                  <a:pt x="689033" y="6660609"/>
                </a:lnTo>
                <a:lnTo>
                  <a:pt x="695997" y="6570071"/>
                </a:lnTo>
                <a:lnTo>
                  <a:pt x="714358" y="6660609"/>
                </a:lnTo>
                <a:lnTo>
                  <a:pt x="746014" y="6660609"/>
                </a:lnTo>
                <a:lnTo>
                  <a:pt x="765009" y="6570071"/>
                </a:lnTo>
                <a:lnTo>
                  <a:pt x="771973" y="6660609"/>
                </a:lnTo>
                <a:lnTo>
                  <a:pt x="812493" y="6660609"/>
                </a:lnTo>
                <a:lnTo>
                  <a:pt x="793500" y="6517521"/>
                </a:lnTo>
                <a:lnTo>
                  <a:pt x="750446" y="6517521"/>
                </a:lnTo>
                <a:lnTo>
                  <a:pt x="730187" y="6603627"/>
                </a:lnTo>
                <a:lnTo>
                  <a:pt x="710559" y="6517521"/>
                </a:lnTo>
                <a:close/>
                <a:moveTo>
                  <a:pt x="428816" y="6517521"/>
                </a:moveTo>
                <a:lnTo>
                  <a:pt x="385763" y="6660609"/>
                </a:lnTo>
                <a:lnTo>
                  <a:pt x="428816" y="6660609"/>
                </a:lnTo>
                <a:lnTo>
                  <a:pt x="434514" y="6634651"/>
                </a:lnTo>
                <a:lnTo>
                  <a:pt x="471869" y="6634651"/>
                </a:lnTo>
                <a:lnTo>
                  <a:pt x="477567" y="6660609"/>
                </a:lnTo>
                <a:lnTo>
                  <a:pt x="520620" y="6660609"/>
                </a:lnTo>
                <a:lnTo>
                  <a:pt x="477567" y="6517521"/>
                </a:lnTo>
                <a:close/>
                <a:moveTo>
                  <a:pt x="593728" y="6513050"/>
                </a:moveTo>
                <a:cubicBezTo>
                  <a:pt x="560904" y="6511625"/>
                  <a:pt x="526477" y="6527651"/>
                  <a:pt x="532650" y="6567538"/>
                </a:cubicBezTo>
                <a:cubicBezTo>
                  <a:pt x="533283" y="6539048"/>
                  <a:pt x="588999" y="6526385"/>
                  <a:pt x="624454" y="6557409"/>
                </a:cubicBezTo>
                <a:cubicBezTo>
                  <a:pt x="625720" y="6537781"/>
                  <a:pt x="625087" y="6528917"/>
                  <a:pt x="624454" y="6520054"/>
                </a:cubicBezTo>
                <a:cubicBezTo>
                  <a:pt x="615433" y="6515938"/>
                  <a:pt x="604669" y="6513524"/>
                  <a:pt x="593728" y="6513050"/>
                </a:cubicBezTo>
                <a:close/>
                <a:moveTo>
                  <a:pt x="8248799" y="5588150"/>
                </a:moveTo>
                <a:lnTo>
                  <a:pt x="12192000" y="5588150"/>
                </a:lnTo>
                <a:lnTo>
                  <a:pt x="12192000" y="6858000"/>
                </a:lnTo>
                <a:lnTo>
                  <a:pt x="8248799" y="6858000"/>
                </a:lnTo>
                <a:close/>
                <a:moveTo>
                  <a:pt x="0" y="5588150"/>
                </a:moveTo>
                <a:lnTo>
                  <a:pt x="8242449" y="5588150"/>
                </a:lnTo>
                <a:lnTo>
                  <a:pt x="8242449" y="6858000"/>
                </a:lnTo>
                <a:lnTo>
                  <a:pt x="0" y="6858000"/>
                </a:lnTo>
                <a:close/>
                <a:moveTo>
                  <a:pt x="8248799" y="0"/>
                </a:moveTo>
                <a:lnTo>
                  <a:pt x="12192000" y="0"/>
                </a:lnTo>
                <a:lnTo>
                  <a:pt x="12192000" y="5581800"/>
                </a:lnTo>
                <a:lnTo>
                  <a:pt x="8248799" y="5581800"/>
                </a:lnTo>
                <a:close/>
                <a:moveTo>
                  <a:pt x="0" y="0"/>
                </a:moveTo>
                <a:lnTo>
                  <a:pt x="8242449" y="0"/>
                </a:lnTo>
                <a:lnTo>
                  <a:pt x="8242449" y="5581800"/>
                </a:lnTo>
                <a:lnTo>
                  <a:pt x="0" y="5581800"/>
                </a:lnTo>
                <a:close/>
              </a:path>
            </a:pathLst>
          </a:custGeom>
          <a:solidFill>
            <a:schemeClr val="bg1">
              <a:alpha val="75000"/>
            </a:schemeClr>
          </a:solidFill>
          <a:effectLst>
            <a:innerShdw dist="6858000" dir="16200000">
              <a:schemeClr val="bg1">
                <a:alpha val="75000"/>
              </a:schemeClr>
            </a:innerShdw>
          </a:effectLst>
        </p:spPr>
        <p:txBody>
          <a:bodyPr vert="horz" wrap="square" lIns="0" tIns="0" rIns="396000" bIns="0" rtlCol="0" anchor="ctr" anchorCtr="0">
            <a:noAutofit/>
          </a:bodyPr>
          <a:lstStyle>
            <a:lvl1pPr algn="r">
              <a:defRPr lang="en-US" sz="1200" dirty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on area to insert picture</a:t>
            </a:r>
          </a:p>
        </p:txBody>
      </p:sp>
      <p:sp>
        <p:nvSpPr>
          <p:cNvPr id="31" name="Subtitle">
            <a:extLst>
              <a:ext uri="{FF2B5EF4-FFF2-40B4-BE49-F238E27FC236}">
                <a16:creationId xmlns:a16="http://schemas.microsoft.com/office/drawing/2014/main" id="{31C5EDE2-43DD-43B3-BB7A-D62CA86A44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6400" y="2773800"/>
            <a:ext cx="7488000" cy="1404500"/>
          </a:xfrm>
          <a:custGeom>
            <a:avLst/>
            <a:gdLst>
              <a:gd name="connsiteX0" fmla="*/ 0 w 7488000"/>
              <a:gd name="connsiteY0" fmla="*/ 0 h 1404000"/>
              <a:gd name="connsiteX1" fmla="*/ 7488000 w 7488000"/>
              <a:gd name="connsiteY1" fmla="*/ 0 h 1404000"/>
              <a:gd name="connsiteX2" fmla="*/ 7488000 w 7488000"/>
              <a:gd name="connsiteY2" fmla="*/ 1404000 h 1404000"/>
              <a:gd name="connsiteX3" fmla="*/ 0 w 7488000"/>
              <a:gd name="connsiteY3" fmla="*/ 140400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88000" h="1404000">
                <a:moveTo>
                  <a:pt x="0" y="0"/>
                </a:moveTo>
                <a:lnTo>
                  <a:pt x="7488000" y="0"/>
                </a:lnTo>
                <a:lnTo>
                  <a:pt x="7488000" y="1404000"/>
                </a:lnTo>
                <a:lnTo>
                  <a:pt x="0" y="1404000"/>
                </a:lnTo>
                <a:close/>
              </a:path>
            </a:pathLst>
          </a:custGeom>
        </p:spPr>
        <p:txBody>
          <a:bodyPr wrap="square" tIns="3600"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62" y="808200"/>
            <a:ext cx="748863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7436A9C2-752F-4995-A51D-AE91EE48A611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MIO_AGENDA_IGNORE_CHAPTER_REFERENCE" hidden="1">
            <a:extLst>
              <a:ext uri="{FF2B5EF4-FFF2-40B4-BE49-F238E27FC236}">
                <a16:creationId xmlns:a16="http://schemas.microsoft.com/office/drawing/2014/main" id="{11E14894-3CE6-409D-A8A1-D4A67320ADD6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A4E082-E024-4765-9547-F36CE94FD081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2E854DC7-FAAD-4AD7-A72A-54622E503044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50B8736-DAE3-4494-A952-94C6F86E5DD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1F97BD-6511-40C2-9E6E-92C21C04601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4767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960">
          <p15:clr>
            <a:srgbClr val="547EBF"/>
          </p15:clr>
        </p15:guide>
        <p15:guide id="2" orient="horz" pos="509">
          <p15:clr>
            <a:srgbClr val="547EBF"/>
          </p15:clr>
        </p15:guide>
        <p15:guide id="3" pos="243">
          <p15:clr>
            <a:srgbClr val="547EBF"/>
          </p15:clr>
        </p15:guide>
        <p15:guide id="4" orient="horz" pos="1747">
          <p15:clr>
            <a:srgbClr val="547EBF"/>
          </p15:clr>
        </p15:guide>
        <p15:guide id="5" orient="horz" pos="2632">
          <p15:clr>
            <a:srgbClr val="547EB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4" preserve="1">
  <p:cSld name="Chapter Slide 4">
    <p:bg>
      <p:bgPr>
        <a:gradFill>
          <a:gsLst>
            <a:gs pos="99000">
              <a:srgbClr val="00A3E0"/>
            </a:gs>
            <a:gs pos="1000">
              <a:srgbClr val="10069F"/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Hide background Logo">
            <a:extLst>
              <a:ext uri="{FF2B5EF4-FFF2-40B4-BE49-F238E27FC236}">
                <a16:creationId xmlns:a16="http://schemas.microsoft.com/office/drawing/2014/main" id="{4136C739-EC55-45E2-B880-3847C17CF8BB}"/>
              </a:ext>
            </a:extLst>
          </p:cNvPr>
          <p:cNvSpPr/>
          <p:nvPr userDrawn="1"/>
        </p:nvSpPr>
        <p:spPr>
          <a:xfrm>
            <a:off x="339600" y="6471000"/>
            <a:ext cx="748800" cy="28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id Decoration">
            <a:extLst>
              <a:ext uri="{FF2B5EF4-FFF2-40B4-BE49-F238E27FC236}">
                <a16:creationId xmlns:a16="http://schemas.microsoft.com/office/drawing/2014/main" id="{AA8971F8-FB52-454C-8FDB-52AF1FBCDC2C}"/>
              </a:ext>
            </a:extLst>
          </p:cNvPr>
          <p:cNvGrpSpPr/>
          <p:nvPr/>
        </p:nvGrpSpPr>
        <p:grpSpPr bwMode="ltGray">
          <a:xfrm flipH="1">
            <a:off x="0" y="0"/>
            <a:ext cx="12193200" cy="6858000"/>
            <a:chOff x="0" y="-446400"/>
            <a:chExt cx="121932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B5F9863-5AFE-41E7-97DE-F8984FA81B3A}"/>
                </a:ext>
              </a:extLst>
            </p:cNvPr>
            <p:cNvCxnSpPr/>
            <p:nvPr userDrawn="1"/>
          </p:nvCxnSpPr>
          <p:spPr bwMode="ltGray">
            <a:xfrm>
              <a:off x="0" y="5135400"/>
              <a:ext cx="12192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39978D1-DDDD-4B98-8B62-CD7AFBC9268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4693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6F4663-484C-4091-BF2B-5993DC37AFCC}"/>
                </a:ext>
              </a:extLst>
            </p:cNvPr>
            <p:cNvCxnSpPr>
              <a:cxnSpLocks/>
            </p:cNvCxnSpPr>
            <p:nvPr userDrawn="1"/>
          </p:nvCxnSpPr>
          <p:spPr bwMode="ltGray">
            <a:xfrm flipV="1">
              <a:off x="0" y="923400"/>
              <a:ext cx="12193200" cy="44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CCEB45F-2DFA-4DEE-886F-2A49F60354D9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-446400"/>
              <a:ext cx="0" cy="68580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FB12F43-F9BE-495F-8E87-6419F3D8D310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918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28D14B7-E4FD-4544-BC13-85FDAC80DF12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03560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C9BB5AC-7E27-4FA3-AFD0-423C6C67B3B3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14792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78D70B9-1884-4F5C-AAF6-E95D6758120D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232696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7C9EAFD-D2AE-464C-B65C-978465C1EB2A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8062800" y="3730520"/>
              <a:ext cx="41304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F4DDF64-5C69-4AFA-9635-10096106A64F}"/>
                </a:ext>
              </a:extLst>
            </p:cNvPr>
            <p:cNvCxnSpPr>
              <a:cxnSpLocks/>
            </p:cNvCxnSpPr>
            <p:nvPr userDrawn="1"/>
          </p:nvCxnSpPr>
          <p:spPr bwMode="ltGray">
            <a:xfrm>
              <a:off x="1323600" y="-446400"/>
              <a:ext cx="0" cy="55818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Picture Placeholder 31">
            <a:extLst>
              <a:ext uri="{FF2B5EF4-FFF2-40B4-BE49-F238E27FC236}">
                <a16:creationId xmlns:a16="http://schemas.microsoft.com/office/drawing/2014/main" id="{CDAA5588-47AD-4287-ACF7-E2D3E17343F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0"/>
            <a:ext cx="4130400" cy="5581800"/>
          </a:xfrm>
          <a:noFill/>
        </p:spPr>
        <p:txBody>
          <a:bodyPr vert="horz" wrap="square" lIns="0" tIns="0" rIns="0" bIns="684000" rtlCol="0" anchor="ctr" anchorCtr="1">
            <a:noAutofit/>
          </a:bodyPr>
          <a:lstStyle>
            <a:lvl1pPr>
              <a:defRPr lang="en-US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5B99960-ED2E-41BF-9A5D-86E1F78D5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5325" y="808200"/>
            <a:ext cx="7113588" cy="1965600"/>
          </a:xfrm>
        </p:spPr>
        <p:txBody>
          <a:bodyPr>
            <a:noAutofit/>
          </a:bodyPr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98BA9AF1-DB99-4BFC-9C64-16E4CFA00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5325" y="2773800"/>
            <a:ext cx="7113588" cy="1404000"/>
          </a:xfrm>
        </p:spPr>
        <p:txBody>
          <a:bodyPr tIns="3600"/>
          <a:lstStyle>
            <a:lvl1pPr>
              <a:lnSpc>
                <a:spcPct val="86000"/>
              </a:lnSpc>
              <a:defRPr sz="5400" baseline="0">
                <a:solidFill>
                  <a:schemeClr val="bg1"/>
                </a:solidFill>
              </a:defRPr>
            </a:lvl1pPr>
            <a:lvl2pPr>
              <a:defRPr sz="2400" baseline="0"/>
            </a:lvl2pPr>
            <a:lvl3pPr>
              <a:defRPr sz="2400" baseline="0"/>
            </a:lvl3pPr>
            <a:lvl4pPr>
              <a:defRPr sz="2400" baseline="0"/>
            </a:lvl4pPr>
            <a:lvl5pPr>
              <a:defRPr sz="2400" baseline="0"/>
            </a:lvl5pPr>
            <a:lvl6pPr>
              <a:defRPr sz="2400" baseline="0"/>
            </a:lvl6pPr>
            <a:lvl7pPr>
              <a:defRPr sz="2400" baseline="0"/>
            </a:lvl7pPr>
            <a:lvl8pPr>
              <a:defRPr sz="2400" baseline="0"/>
            </a:lvl8pPr>
            <a:lvl9pPr>
              <a:defRPr sz="2400" baseline="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5169554C-ED38-41F8-830C-EF173FD80926}"/>
              </a:ext>
            </a:extLst>
          </p:cNvPr>
          <p:cNvSpPr/>
          <p:nvPr/>
        </p:nvSpPr>
        <p:spPr>
          <a:xfrm>
            <a:off x="11804960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F0815C98-6F33-481C-B400-1F08952FA7B4}"/>
              </a:ext>
            </a:extLst>
          </p:cNvPr>
          <p:cNvSpPr/>
          <p:nvPr/>
        </p:nvSpPr>
        <p:spPr>
          <a:xfrm>
            <a:off x="11517578" y="128368"/>
            <a:ext cx="203200" cy="20320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 marL="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Logo">
            <a:extLst>
              <a:ext uri="{FF2B5EF4-FFF2-40B4-BE49-F238E27FC236}">
                <a16:creationId xmlns:a16="http://schemas.microsoft.com/office/drawing/2014/main" id="{364DBF74-98A0-4E0A-A943-3BF4DFA456E1}"/>
              </a:ext>
            </a:extLst>
          </p:cNvPr>
          <p:cNvSpPr>
            <a:spLocks/>
          </p:cNvSpPr>
          <p:nvPr userDrawn="1"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chemeClr val="bg1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B22322-7498-40F8-BEAB-2B540EAD49E7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41C53B78-E616-423D-9CC7-E40543DBA806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1F0FCF-AFC4-4BF8-A68B-2DC81BF170EB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C8B372-2A1E-4510-B277-0C385ECF879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847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838">
          <p15:clr>
            <a:srgbClr val="FFFFFF"/>
          </p15:clr>
        </p15:guide>
        <p15:guide id="2" pos="7319">
          <p15:clr>
            <a:srgbClr val="FFFFFF"/>
          </p15:clr>
        </p15:guide>
        <p15:guide id="3" orient="horz" pos="509">
          <p15:clr>
            <a:srgbClr val="FFFFFF"/>
          </p15:clr>
        </p15:guide>
        <p15:guide id="4" orient="horz" pos="1747">
          <p15:clr>
            <a:srgbClr val="FFFFFF"/>
          </p15:clr>
        </p15:guide>
        <p15:guide id="5" orient="horz" pos="2632">
          <p15:clr>
            <a:srgbClr val="FFFF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 Contents" type="twoObj" preserve="1">
  <p:cSld name="Title 2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0CAC78B5-1779-4709-AF35-4B8166EA2A8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400" y="1369799"/>
            <a:ext cx="5241288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E89E6773-5B9E-4C7D-B1BE-54C5F7F48326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02399" y="1369799"/>
            <a:ext cx="5241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FAB5EB7-FEDE-4F62-8CA4-FA996173ABE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F71A1833-FAE1-44C3-9B0A-EE1B16BE8780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9CD819-C2C1-4105-A401-FB1FCBF4F692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16AC08-326C-4149-9875-2CE49F374AC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431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orient="horz" pos="273">
          <p15:clr>
            <a:srgbClr val="547EBF"/>
          </p15:clr>
        </p15:guide>
        <p15:guide id="3" pos="708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3545">
          <p15:clr>
            <a:srgbClr val="547EBF"/>
          </p15:clr>
        </p15:guide>
        <p15:guide id="10" pos="3781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Contents" type="objAndTwoObj" preserve="1">
  <p:cSld name="Title 3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9DD0FF-5B45-4FAF-B968-1B55041AE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CF633BB3-6A8A-4BE4-8C1D-551FAE06F8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763" y="808038"/>
            <a:ext cx="10858500" cy="374650"/>
          </a:xfrm>
        </p:spPr>
        <p:txBody>
          <a:bodyPr vert="horz" lIns="0" tIns="3600" rIns="0" bIns="0" rtlCol="0">
            <a:noAutofit/>
          </a:bodyPr>
          <a:lstStyle>
            <a:lvl1pPr>
              <a:defRPr lang="en-US" sz="2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F5838B5B-8D44-4948-9685-83EA5B4F67B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6399" y="1369799"/>
            <a:ext cx="3369625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center">
            <a:extLst>
              <a:ext uri="{FF2B5EF4-FFF2-40B4-BE49-F238E27FC236}">
                <a16:creationId xmlns:a16="http://schemas.microsoft.com/office/drawing/2014/main" id="{32BB11D2-EA02-41A0-9EE7-358732E361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130400" y="1369799"/>
            <a:ext cx="3368950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right">
            <a:extLst>
              <a:ext uri="{FF2B5EF4-FFF2-40B4-BE49-F238E27FC236}">
                <a16:creationId xmlns:a16="http://schemas.microsoft.com/office/drawing/2014/main" id="{CF21524C-67FC-4C50-BAB0-4B436AB19D34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874399" y="1369799"/>
            <a:ext cx="3369863" cy="468016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  <a:lvl6pPr>
              <a:buAutoNum type="arabicPeriod"/>
              <a:defRPr lang="en-US" dirty="0"/>
            </a:lvl6pPr>
            <a:lvl7pPr>
              <a:buAutoNum type="romanLcPeriod"/>
              <a:defRPr lang="en-US" dirty="0"/>
            </a:lvl7pPr>
            <a:lvl8pPr>
              <a:defRPr lang="en-US" dirty="0"/>
            </a:lvl8pPr>
            <a:lvl9pPr>
              <a:defRPr lang="en-US" dirty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F283F9-9BAE-49C1-8215-98BC764F262D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DF8F69ED-2428-4A80-94E8-54798B345288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085F4D-A4CF-4983-9CA8-23B010115B4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82CEB6-3AF0-4ED5-B22D-724138DD085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/>
              <a:pPr algn="r">
                <a:lnSpc>
                  <a:spcPct val="110000"/>
                </a:lnSpc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417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243">
          <p15:clr>
            <a:srgbClr val="547EBF"/>
          </p15:clr>
        </p15:guide>
        <p15:guide id="2" pos="7083">
          <p15:clr>
            <a:srgbClr val="547EBF"/>
          </p15:clr>
        </p15:guide>
        <p15:guide id="3" orient="horz" pos="273">
          <p15:clr>
            <a:srgbClr val="547EBF"/>
          </p15:clr>
        </p15:guide>
        <p15:guide id="4" orient="horz" pos="509">
          <p15:clr>
            <a:srgbClr val="547EBF"/>
          </p15:clr>
        </p15:guide>
        <p15:guide id="5" orient="horz" pos="745">
          <p15:clr>
            <a:srgbClr val="547EBF"/>
          </p15:clr>
        </p15:guide>
        <p15:guide id="6" orient="horz" pos="863">
          <p15:clr>
            <a:srgbClr val="547EBF"/>
          </p15:clr>
        </p15:guide>
        <p15:guide id="7" orient="horz" pos="3811">
          <p15:clr>
            <a:srgbClr val="547EBF"/>
          </p15:clr>
        </p15:guide>
        <p15:guide id="8" orient="horz" pos="3958">
          <p15:clr>
            <a:srgbClr val="547EBF"/>
          </p15:clr>
        </p15:guide>
        <p15:guide id="9" pos="2366">
          <p15:clr>
            <a:srgbClr val="547EBF"/>
          </p15:clr>
        </p15:guide>
        <p15:guide id="10" pos="2602">
          <p15:clr>
            <a:srgbClr val="547EBF"/>
          </p15:clr>
        </p15:guide>
        <p15:guide id="11" pos="4724">
          <p15:clr>
            <a:srgbClr val="547EBF"/>
          </p15:clr>
        </p15:guide>
        <p15:guide id="12" pos="4960">
          <p15:clr>
            <a:srgbClr val="547EB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6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Logo">
            <a:extLst>
              <a:ext uri="{FF2B5EF4-FFF2-40B4-BE49-F238E27FC236}">
                <a16:creationId xmlns:a16="http://schemas.microsoft.com/office/drawing/2014/main" id="{3C2628D1-2C4E-466C-8ED2-0BBF936C9D6A}"/>
              </a:ext>
            </a:extLst>
          </p:cNvPr>
          <p:cNvSpPr>
            <a:spLocks/>
          </p:cNvSpPr>
          <p:nvPr/>
        </p:nvSpPr>
        <p:spPr bwMode="black">
          <a:xfrm>
            <a:off x="385763" y="6512963"/>
            <a:ext cx="538161" cy="150809"/>
          </a:xfrm>
          <a:custGeom>
            <a:avLst/>
            <a:gdLst>
              <a:gd name="connsiteX0" fmla="*/ 135721 w 1078169"/>
              <a:gd name="connsiteY0" fmla="*/ 71284 h 302134"/>
              <a:gd name="connsiteX1" fmla="*/ 109085 w 1078169"/>
              <a:gd name="connsiteY1" fmla="*/ 189249 h 302134"/>
              <a:gd name="connsiteX2" fmla="*/ 161091 w 1078169"/>
              <a:gd name="connsiteY2" fmla="*/ 189249 h 302134"/>
              <a:gd name="connsiteX3" fmla="*/ 394483 w 1078169"/>
              <a:gd name="connsiteY3" fmla="*/ 66210 h 302134"/>
              <a:gd name="connsiteX4" fmla="*/ 374189 w 1078169"/>
              <a:gd name="connsiteY4" fmla="*/ 89042 h 302134"/>
              <a:gd name="connsiteX5" fmla="*/ 418583 w 1078169"/>
              <a:gd name="connsiteY5" fmla="*/ 123290 h 302134"/>
              <a:gd name="connsiteX6" fmla="*/ 499763 w 1078169"/>
              <a:gd name="connsiteY6" fmla="*/ 210811 h 302134"/>
              <a:gd name="connsiteX7" fmla="*/ 422389 w 1078169"/>
              <a:gd name="connsiteY7" fmla="*/ 295797 h 302134"/>
              <a:gd name="connsiteX8" fmla="*/ 287933 w 1078169"/>
              <a:gd name="connsiteY8" fmla="*/ 281844 h 302134"/>
              <a:gd name="connsiteX9" fmla="*/ 287933 w 1078169"/>
              <a:gd name="connsiteY9" fmla="*/ 213348 h 302134"/>
              <a:gd name="connsiteX10" fmla="*/ 367845 w 1078169"/>
              <a:gd name="connsiteY10" fmla="*/ 242522 h 302134"/>
              <a:gd name="connsiteX11" fmla="*/ 412241 w 1078169"/>
              <a:gd name="connsiteY11" fmla="*/ 209543 h 302134"/>
              <a:gd name="connsiteX12" fmla="*/ 381797 w 1078169"/>
              <a:gd name="connsiteY12" fmla="*/ 176564 h 302134"/>
              <a:gd name="connsiteX13" fmla="*/ 394483 w 1078169"/>
              <a:gd name="connsiteY13" fmla="*/ 66210 h 302134"/>
              <a:gd name="connsiteX14" fmla="*/ 894245 w 1078169"/>
              <a:gd name="connsiteY14" fmla="*/ 9131 h 302134"/>
              <a:gd name="connsiteX15" fmla="*/ 972889 w 1078169"/>
              <a:gd name="connsiteY15" fmla="*/ 9131 h 302134"/>
              <a:gd name="connsiteX16" fmla="*/ 972889 w 1078169"/>
              <a:gd name="connsiteY16" fmla="*/ 236181 h 302134"/>
              <a:gd name="connsiteX17" fmla="*/ 1078169 w 1078169"/>
              <a:gd name="connsiteY17" fmla="*/ 236181 h 302134"/>
              <a:gd name="connsiteX18" fmla="*/ 1078169 w 1078169"/>
              <a:gd name="connsiteY18" fmla="*/ 295797 h 302134"/>
              <a:gd name="connsiteX19" fmla="*/ 894245 w 1078169"/>
              <a:gd name="connsiteY19" fmla="*/ 295797 h 302134"/>
              <a:gd name="connsiteX20" fmla="*/ 564453 w 1078169"/>
              <a:gd name="connsiteY20" fmla="*/ 9131 h 302134"/>
              <a:gd name="connsiteX21" fmla="*/ 650707 w 1078169"/>
              <a:gd name="connsiteY21" fmla="*/ 9131 h 302134"/>
              <a:gd name="connsiteX22" fmla="*/ 690029 w 1078169"/>
              <a:gd name="connsiteY22" fmla="*/ 181638 h 302134"/>
              <a:gd name="connsiteX23" fmla="*/ 730617 w 1078169"/>
              <a:gd name="connsiteY23" fmla="*/ 9131 h 302134"/>
              <a:gd name="connsiteX24" fmla="*/ 816873 w 1078169"/>
              <a:gd name="connsiteY24" fmla="*/ 9131 h 302134"/>
              <a:gd name="connsiteX25" fmla="*/ 854925 w 1078169"/>
              <a:gd name="connsiteY25" fmla="*/ 295797 h 302134"/>
              <a:gd name="connsiteX26" fmla="*/ 773745 w 1078169"/>
              <a:gd name="connsiteY26" fmla="*/ 295797 h 302134"/>
              <a:gd name="connsiteX27" fmla="*/ 759793 w 1078169"/>
              <a:gd name="connsiteY27" fmla="*/ 114411 h 302134"/>
              <a:gd name="connsiteX28" fmla="*/ 721739 w 1078169"/>
              <a:gd name="connsiteY28" fmla="*/ 295797 h 302134"/>
              <a:gd name="connsiteX29" fmla="*/ 658317 w 1078169"/>
              <a:gd name="connsiteY29" fmla="*/ 295797 h 302134"/>
              <a:gd name="connsiteX30" fmla="*/ 621533 w 1078169"/>
              <a:gd name="connsiteY30" fmla="*/ 114411 h 302134"/>
              <a:gd name="connsiteX31" fmla="*/ 607581 w 1078169"/>
              <a:gd name="connsiteY31" fmla="*/ 295797 h 302134"/>
              <a:gd name="connsiteX32" fmla="*/ 526401 w 1078169"/>
              <a:gd name="connsiteY32" fmla="*/ 295797 h 302134"/>
              <a:gd name="connsiteX33" fmla="*/ 86253 w 1078169"/>
              <a:gd name="connsiteY33" fmla="*/ 9131 h 302134"/>
              <a:gd name="connsiteX34" fmla="*/ 183923 w 1078169"/>
              <a:gd name="connsiteY34" fmla="*/ 9131 h 302134"/>
              <a:gd name="connsiteX35" fmla="*/ 270177 w 1078169"/>
              <a:gd name="connsiteY35" fmla="*/ 295797 h 302134"/>
              <a:gd name="connsiteX36" fmla="*/ 183923 w 1078169"/>
              <a:gd name="connsiteY36" fmla="*/ 295797 h 302134"/>
              <a:gd name="connsiteX37" fmla="*/ 172507 w 1078169"/>
              <a:gd name="connsiteY37" fmla="*/ 243791 h 302134"/>
              <a:gd name="connsiteX38" fmla="*/ 97669 w 1078169"/>
              <a:gd name="connsiteY38" fmla="*/ 243791 h 302134"/>
              <a:gd name="connsiteX39" fmla="*/ 86253 w 1078169"/>
              <a:gd name="connsiteY39" fmla="*/ 295797 h 302134"/>
              <a:gd name="connsiteX40" fmla="*/ 0 w 1078169"/>
              <a:gd name="connsiteY40" fmla="*/ 295797 h 302134"/>
              <a:gd name="connsiteX41" fmla="*/ 416643 w 1078169"/>
              <a:gd name="connsiteY41" fmla="*/ 173 h 302134"/>
              <a:gd name="connsiteX42" fmla="*/ 478201 w 1078169"/>
              <a:gd name="connsiteY42" fmla="*/ 14205 h 302134"/>
              <a:gd name="connsiteX43" fmla="*/ 478201 w 1078169"/>
              <a:gd name="connsiteY43" fmla="*/ 89043 h 302134"/>
              <a:gd name="connsiteX44" fmla="*/ 294277 w 1078169"/>
              <a:gd name="connsiteY44" fmla="*/ 109337 h 302134"/>
              <a:gd name="connsiteX45" fmla="*/ 416643 w 1078169"/>
              <a:gd name="connsiteY45" fmla="*/ 173 h 302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078169" h="302134">
                <a:moveTo>
                  <a:pt x="135721" y="71284"/>
                </a:moveTo>
                <a:lnTo>
                  <a:pt x="109085" y="189249"/>
                </a:lnTo>
                <a:lnTo>
                  <a:pt x="161091" y="189249"/>
                </a:lnTo>
                <a:close/>
                <a:moveTo>
                  <a:pt x="394483" y="66210"/>
                </a:moveTo>
                <a:cubicBezTo>
                  <a:pt x="377993" y="71284"/>
                  <a:pt x="374189" y="80163"/>
                  <a:pt x="374189" y="89042"/>
                </a:cubicBezTo>
                <a:cubicBezTo>
                  <a:pt x="374189" y="109337"/>
                  <a:pt x="400825" y="115679"/>
                  <a:pt x="418583" y="123290"/>
                </a:cubicBezTo>
                <a:cubicBezTo>
                  <a:pt x="447757" y="134705"/>
                  <a:pt x="501033" y="148658"/>
                  <a:pt x="499763" y="210811"/>
                </a:cubicBezTo>
                <a:cubicBezTo>
                  <a:pt x="499763" y="247596"/>
                  <a:pt x="464247" y="283112"/>
                  <a:pt x="422389" y="295797"/>
                </a:cubicBezTo>
                <a:cubicBezTo>
                  <a:pt x="371653" y="311018"/>
                  <a:pt x="319645" y="295797"/>
                  <a:pt x="287933" y="281844"/>
                </a:cubicBezTo>
                <a:lnTo>
                  <a:pt x="287933" y="213348"/>
                </a:lnTo>
                <a:cubicBezTo>
                  <a:pt x="314573" y="231106"/>
                  <a:pt x="338671" y="242522"/>
                  <a:pt x="367845" y="242522"/>
                </a:cubicBezTo>
                <a:cubicBezTo>
                  <a:pt x="385605" y="242522"/>
                  <a:pt x="412241" y="233643"/>
                  <a:pt x="412241" y="209543"/>
                </a:cubicBezTo>
                <a:cubicBezTo>
                  <a:pt x="412241" y="189248"/>
                  <a:pt x="393215" y="182906"/>
                  <a:pt x="381797" y="176564"/>
                </a:cubicBezTo>
                <a:cubicBezTo>
                  <a:pt x="318377" y="142316"/>
                  <a:pt x="337403" y="72552"/>
                  <a:pt x="394483" y="66210"/>
                </a:cubicBezTo>
                <a:close/>
                <a:moveTo>
                  <a:pt x="894245" y="9131"/>
                </a:moveTo>
                <a:lnTo>
                  <a:pt x="972889" y="9131"/>
                </a:lnTo>
                <a:lnTo>
                  <a:pt x="972889" y="236181"/>
                </a:lnTo>
                <a:lnTo>
                  <a:pt x="1078169" y="236181"/>
                </a:lnTo>
                <a:lnTo>
                  <a:pt x="1078169" y="295797"/>
                </a:lnTo>
                <a:lnTo>
                  <a:pt x="894245" y="295797"/>
                </a:lnTo>
                <a:close/>
                <a:moveTo>
                  <a:pt x="564453" y="9131"/>
                </a:moveTo>
                <a:lnTo>
                  <a:pt x="650707" y="9131"/>
                </a:lnTo>
                <a:lnTo>
                  <a:pt x="690029" y="181638"/>
                </a:lnTo>
                <a:lnTo>
                  <a:pt x="730617" y="9131"/>
                </a:lnTo>
                <a:lnTo>
                  <a:pt x="816873" y="9131"/>
                </a:lnTo>
                <a:lnTo>
                  <a:pt x="854925" y="295797"/>
                </a:lnTo>
                <a:lnTo>
                  <a:pt x="773745" y="295797"/>
                </a:lnTo>
                <a:lnTo>
                  <a:pt x="759793" y="114411"/>
                </a:lnTo>
                <a:lnTo>
                  <a:pt x="721739" y="295797"/>
                </a:lnTo>
                <a:lnTo>
                  <a:pt x="658317" y="295797"/>
                </a:lnTo>
                <a:lnTo>
                  <a:pt x="621533" y="114411"/>
                </a:lnTo>
                <a:lnTo>
                  <a:pt x="607581" y="295797"/>
                </a:lnTo>
                <a:lnTo>
                  <a:pt x="526401" y="295797"/>
                </a:lnTo>
                <a:close/>
                <a:moveTo>
                  <a:pt x="86253" y="9131"/>
                </a:moveTo>
                <a:lnTo>
                  <a:pt x="183923" y="9131"/>
                </a:lnTo>
                <a:lnTo>
                  <a:pt x="270177" y="295797"/>
                </a:lnTo>
                <a:lnTo>
                  <a:pt x="183923" y="295797"/>
                </a:lnTo>
                <a:lnTo>
                  <a:pt x="172507" y="243791"/>
                </a:lnTo>
                <a:lnTo>
                  <a:pt x="97669" y="243791"/>
                </a:lnTo>
                <a:lnTo>
                  <a:pt x="86253" y="295797"/>
                </a:lnTo>
                <a:lnTo>
                  <a:pt x="0" y="295797"/>
                </a:lnTo>
                <a:close/>
                <a:moveTo>
                  <a:pt x="416643" y="173"/>
                </a:moveTo>
                <a:cubicBezTo>
                  <a:pt x="438563" y="1124"/>
                  <a:pt x="460127" y="5960"/>
                  <a:pt x="478201" y="14205"/>
                </a:cubicBezTo>
                <a:cubicBezTo>
                  <a:pt x="479469" y="31963"/>
                  <a:pt x="480737" y="49721"/>
                  <a:pt x="478201" y="89043"/>
                </a:cubicBezTo>
                <a:cubicBezTo>
                  <a:pt x="407169" y="26889"/>
                  <a:pt x="295545" y="52258"/>
                  <a:pt x="294277" y="109337"/>
                </a:cubicBezTo>
                <a:cubicBezTo>
                  <a:pt x="281911" y="29426"/>
                  <a:pt x="350883" y="-2681"/>
                  <a:pt x="416643" y="173"/>
                </a:cubicBezTo>
                <a:close/>
              </a:path>
            </a:pathLst>
          </a:custGeom>
          <a:solidFill>
            <a:srgbClr val="10069F"/>
          </a:solidFill>
          <a:ln w="12680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2400" baseline="0" dirty="0">
              <a:latin typeface="+mn-lt"/>
              <a:cs typeface="+mn-cs"/>
            </a:endParaRPr>
          </a:p>
        </p:txBody>
      </p:sp>
      <p:grpSp>
        <p:nvGrpSpPr>
          <p:cNvPr id="5" name="Supporting lines">
            <a:extLst>
              <a:ext uri="{FF2B5EF4-FFF2-40B4-BE49-F238E27FC236}">
                <a16:creationId xmlns:a16="http://schemas.microsoft.com/office/drawing/2014/main" id="{9FB53A73-69D2-4671-A9D6-A17A4290BC4E}"/>
              </a:ext>
            </a:extLst>
          </p:cNvPr>
          <p:cNvGrpSpPr/>
          <p:nvPr/>
        </p:nvGrpSpPr>
        <p:grpSpPr>
          <a:xfrm>
            <a:off x="-128400" y="-127800"/>
            <a:ext cx="12121200" cy="6832800"/>
            <a:chOff x="-128400" y="-127800"/>
            <a:chExt cx="12121200" cy="6832800"/>
          </a:xfrm>
        </p:grpSpPr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02E4C7E6-3387-41F8-9EAD-E47B5A9ECA1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D90A978A-7BAF-49DB-BABC-A990A008804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8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86BBF64-B330-4470-9A1F-E5A4734EF75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6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537A0477-93D8-48A8-A035-9D98267DCD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3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031A1A94-C93E-49F0-B200-89371B61037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50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6AAF536-9BA6-4AFE-9100-FE58B83D236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88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4151686A-15C4-4FFA-961B-4F76D94DB43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25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62E777-8C52-479C-AC60-2C9D5D43FE1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63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53D75036-1DD3-4854-B5B9-6595551F241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07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C7957112-40AF-4ACF-B51F-4C590B37387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381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D4AEF7E8-D2DC-4C57-88BD-3553A56B07D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756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2534FF11-DBBB-413C-8314-F1C8439500E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130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51914CF2-B9C8-42DF-AF06-9236BFFE9C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504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46975562-75F0-4BD4-A751-F473B6A1432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879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617830BB-D9CA-42CE-99C6-66622F1AA11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253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779AC6A6-E6E5-4285-A4EA-35CABC76674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628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DCB627BA-14B2-4460-BD26-FBBD93F039A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002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2B23F7E5-6F7C-4F74-863A-A62D2D396A2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376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0A36211D-106F-4F9D-9F9F-CA0674A5A8C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751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C2CABEE8-FAF4-4440-AF4B-22004B9C277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125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BF0A0087-F3D5-4F3B-A1DF-5B2789DD55A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500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8677234F-1CE8-4B48-955E-1245838A1E0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874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671F9C2D-8377-4DE3-BFFF-118ACDB8F39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248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B0AA66E6-ABA6-4C8F-84CE-FEED5DC95B2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623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7C38C08E-3768-4D40-B253-1BE54C53BB8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997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B46208E7-BDF9-42EE-8F8E-364F4231B30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372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24644024-66E6-49F2-B6F2-53D748DA91D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746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2B410132-405B-4ABA-A92D-420B11E0E17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120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F50FE52E-B465-485B-A2FD-F5D406407B6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952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8D24ADCC-0F7F-4654-87EF-EC655FCE31D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8696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1CF4FD21-530C-4ACC-9F46-27D654CF920F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2440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AD797CB6-894E-4FCA-881E-5BC1BF9B953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6184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E89FFA9F-0A14-4344-BF56-120CBB213BC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992800" y="-127800"/>
              <a:ext cx="0" cy="468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DA3A1F9D-5070-4758-AEA3-63BFA2645D9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43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FC12C6A6-7BD2-467A-8763-05F4FA0550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8082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C8D367F6-6242-48A1-81AC-25136EA76E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1826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B203129A-3612-420D-BC50-908283471D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136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47B300CA-A1A7-4367-9576-17557304AF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049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AF0368B5-E16D-49D8-82F1-7825D0F2F6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283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5E5AD53C-5B62-499E-8A20-3700DE0EDF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5178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F1863D99-0BC1-4BDB-8690-56085CBD796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28400" y="6705000"/>
              <a:ext cx="468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8" name="Content Grid" hidden="1">
            <a:extLst>
              <a:ext uri="{FF2B5EF4-FFF2-40B4-BE49-F238E27FC236}">
                <a16:creationId xmlns:a16="http://schemas.microsoft.com/office/drawing/2014/main" id="{016A9DD2-7240-460D-8F15-EB07954CC749}"/>
              </a:ext>
            </a:extLst>
          </p:cNvPr>
          <p:cNvGrpSpPr>
            <a:grpSpLocks/>
          </p:cNvGrpSpPr>
          <p:nvPr>
            <p:custDataLst>
              <p:tags r:id="rId31"/>
            </p:custDataLst>
          </p:nvPr>
        </p:nvGrpSpPr>
        <p:grpSpPr>
          <a:xfrm>
            <a:off x="386400" y="1369800"/>
            <a:ext cx="10872000" cy="4680163"/>
            <a:chOff x="386400" y="1369800"/>
            <a:chExt cx="10872000" cy="4680163"/>
          </a:xfrm>
        </p:grpSpPr>
        <p:cxnSp>
          <p:nvCxnSpPr>
            <p:cNvPr id="90" name="Straight Connector 89" hidden="1">
              <a:extLst>
                <a:ext uri="{FF2B5EF4-FFF2-40B4-BE49-F238E27FC236}">
                  <a16:creationId xmlns:a16="http://schemas.microsoft.com/office/drawing/2014/main" id="{82832892-2597-4AE7-96D4-621BF4776E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4" name="Straight Connector 113" hidden="1">
              <a:extLst>
                <a:ext uri="{FF2B5EF4-FFF2-40B4-BE49-F238E27FC236}">
                  <a16:creationId xmlns:a16="http://schemas.microsoft.com/office/drawing/2014/main" id="{B19210E7-8435-44B0-8CC5-E71D6BDDD7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77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>
              <a:extLst>
                <a:ext uri="{FF2B5EF4-FFF2-40B4-BE49-F238E27FC236}">
                  <a16:creationId xmlns:a16="http://schemas.microsoft.com/office/drawing/2014/main" id="{39233C6B-DFD3-4832-8671-4D56EE3A8A0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230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6" name="Straight Connector 115" hidden="1">
              <a:extLst>
                <a:ext uri="{FF2B5EF4-FFF2-40B4-BE49-F238E27FC236}">
                  <a16:creationId xmlns:a16="http://schemas.microsoft.com/office/drawing/2014/main" id="{13C16988-56C0-4781-B480-F5CF0F46E9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83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7" name="Straight Connector 116" hidden="1">
              <a:extLst>
                <a:ext uri="{FF2B5EF4-FFF2-40B4-BE49-F238E27FC236}">
                  <a16:creationId xmlns:a16="http://schemas.microsoft.com/office/drawing/2014/main" id="{E3D5CB83-557E-41D9-A7E7-CFA309C57A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1" name="Straight Connector 120" hidden="1">
              <a:extLst>
                <a:ext uri="{FF2B5EF4-FFF2-40B4-BE49-F238E27FC236}">
                  <a16:creationId xmlns:a16="http://schemas.microsoft.com/office/drawing/2014/main" id="{F4B3DCB7-9BA6-446D-B8B7-A43198EFA5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24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2" name="Straight Connector 121" hidden="1">
              <a:extLst>
                <a:ext uri="{FF2B5EF4-FFF2-40B4-BE49-F238E27FC236}">
                  <a16:creationId xmlns:a16="http://schemas.microsoft.com/office/drawing/2014/main" id="{11E9F8A6-9BF4-4D3E-8089-DD140A8AF6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370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3" name="Straight Connector 122" hidden="1">
              <a:extLst>
                <a:ext uri="{FF2B5EF4-FFF2-40B4-BE49-F238E27FC236}">
                  <a16:creationId xmlns:a16="http://schemas.microsoft.com/office/drawing/2014/main" id="{57CB75BD-D2D9-4256-B5E7-32F489A938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177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4" name="Straight Connector 123" hidden="1">
              <a:extLst>
                <a:ext uri="{FF2B5EF4-FFF2-40B4-BE49-F238E27FC236}">
                  <a16:creationId xmlns:a16="http://schemas.microsoft.com/office/drawing/2014/main" id="{540868F0-DB12-4E17-B1DB-A3FFD300ED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4645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5" name="Straight Connector 124" hidden="1">
              <a:extLst>
                <a:ext uri="{FF2B5EF4-FFF2-40B4-BE49-F238E27FC236}">
                  <a16:creationId xmlns:a16="http://schemas.microsoft.com/office/drawing/2014/main" id="{A7DD42A3-FD09-4C13-8866-B56B9607FF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113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6" name="Straight Connector 125" hidden="1">
              <a:extLst>
                <a:ext uri="{FF2B5EF4-FFF2-40B4-BE49-F238E27FC236}">
                  <a16:creationId xmlns:a16="http://schemas.microsoft.com/office/drawing/2014/main" id="{6FBC1860-5818-42EB-AE1A-9B6D4BA03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5581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7" name="Straight Connector 126" hidden="1">
              <a:extLst>
                <a:ext uri="{FF2B5EF4-FFF2-40B4-BE49-F238E27FC236}">
                  <a16:creationId xmlns:a16="http://schemas.microsoft.com/office/drawing/2014/main" id="{982A4B0E-EF82-4FCD-B19A-D6995ACD30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6049800"/>
              <a:ext cx="10872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9" name="Straight Connector 128" hidden="1">
              <a:extLst>
                <a:ext uri="{FF2B5EF4-FFF2-40B4-BE49-F238E27FC236}">
                  <a16:creationId xmlns:a16="http://schemas.microsoft.com/office/drawing/2014/main" id="{B29B5915-F6DB-40AA-B721-690E01F8333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0" name="Straight Connector 129" hidden="1">
              <a:extLst>
                <a:ext uri="{FF2B5EF4-FFF2-40B4-BE49-F238E27FC236}">
                  <a16:creationId xmlns:a16="http://schemas.microsoft.com/office/drawing/2014/main" id="{2A880744-6C30-4956-9500-51EBB5086C8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1" name="Straight Connector 130" hidden="1">
              <a:extLst>
                <a:ext uri="{FF2B5EF4-FFF2-40B4-BE49-F238E27FC236}">
                  <a16:creationId xmlns:a16="http://schemas.microsoft.com/office/drawing/2014/main" id="{900AD28B-C92E-4F85-8046-E6126B7173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2" name="Straight Connector 131" hidden="1">
              <a:extLst>
                <a:ext uri="{FF2B5EF4-FFF2-40B4-BE49-F238E27FC236}">
                  <a16:creationId xmlns:a16="http://schemas.microsoft.com/office/drawing/2014/main" id="{34C33EBF-AD8E-45EA-9B82-65E12E1A2A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3" name="Straight Connector 132" hidden="1">
              <a:extLst>
                <a:ext uri="{FF2B5EF4-FFF2-40B4-BE49-F238E27FC236}">
                  <a16:creationId xmlns:a16="http://schemas.microsoft.com/office/drawing/2014/main" id="{3C413DF0-6EC9-487B-B6EF-2769C7D5F0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1370013"/>
              <a:ext cx="0" cy="467995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4" name="Straight Connector 133" hidden="1">
              <a:extLst>
                <a:ext uri="{FF2B5EF4-FFF2-40B4-BE49-F238E27FC236}">
                  <a16:creationId xmlns:a16="http://schemas.microsoft.com/office/drawing/2014/main" id="{A4E2AA63-CE89-4893-A45D-7811709C5D1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5" name="Straight Connector 134" hidden="1">
              <a:extLst>
                <a:ext uri="{FF2B5EF4-FFF2-40B4-BE49-F238E27FC236}">
                  <a16:creationId xmlns:a16="http://schemas.microsoft.com/office/drawing/2014/main" id="{F631F5B1-A6ED-49B4-91D2-E3947FCBF48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6" name="Straight Connector 135" hidden="1">
              <a:extLst>
                <a:ext uri="{FF2B5EF4-FFF2-40B4-BE49-F238E27FC236}">
                  <a16:creationId xmlns:a16="http://schemas.microsoft.com/office/drawing/2014/main" id="{E84F6276-880E-4D15-8DAF-05D51455AD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7" name="Straight Connector 136" hidden="1">
              <a:extLst>
                <a:ext uri="{FF2B5EF4-FFF2-40B4-BE49-F238E27FC236}">
                  <a16:creationId xmlns:a16="http://schemas.microsoft.com/office/drawing/2014/main" id="{626022CA-9F72-4133-B7B9-3E52699C0E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8" name="Straight Connector 137" hidden="1">
              <a:extLst>
                <a:ext uri="{FF2B5EF4-FFF2-40B4-BE49-F238E27FC236}">
                  <a16:creationId xmlns:a16="http://schemas.microsoft.com/office/drawing/2014/main" id="{42343559-BFBA-4C3E-9209-D9CAF68152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9" name="Straight Connector 138" hidden="1">
              <a:extLst>
                <a:ext uri="{FF2B5EF4-FFF2-40B4-BE49-F238E27FC236}">
                  <a16:creationId xmlns:a16="http://schemas.microsoft.com/office/drawing/2014/main" id="{D52F67DD-E6B8-4BCD-A1DB-A1D4A8DE8F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0" name="Straight Connector 139" hidden="1">
              <a:extLst>
                <a:ext uri="{FF2B5EF4-FFF2-40B4-BE49-F238E27FC236}">
                  <a16:creationId xmlns:a16="http://schemas.microsoft.com/office/drawing/2014/main" id="{3172709B-D69F-47C4-AC8D-DEF42B156F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1" name="Straight Connector 140" hidden="1">
              <a:extLst>
                <a:ext uri="{FF2B5EF4-FFF2-40B4-BE49-F238E27FC236}">
                  <a16:creationId xmlns:a16="http://schemas.microsoft.com/office/drawing/2014/main" id="{D26E2B03-97E1-48ED-B853-A22EDAE34F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2" name="Straight Connector 141" hidden="1">
              <a:extLst>
                <a:ext uri="{FF2B5EF4-FFF2-40B4-BE49-F238E27FC236}">
                  <a16:creationId xmlns:a16="http://schemas.microsoft.com/office/drawing/2014/main" id="{81F0634A-F5A3-423C-AF13-71056C6024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5" name="Straight Connector 144" hidden="1">
              <a:extLst>
                <a:ext uri="{FF2B5EF4-FFF2-40B4-BE49-F238E27FC236}">
                  <a16:creationId xmlns:a16="http://schemas.microsoft.com/office/drawing/2014/main" id="{1811074E-FE7B-487A-9DC9-998D7A519F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6" name="Straight Connector 145" hidden="1">
              <a:extLst>
                <a:ext uri="{FF2B5EF4-FFF2-40B4-BE49-F238E27FC236}">
                  <a16:creationId xmlns:a16="http://schemas.microsoft.com/office/drawing/2014/main" id="{4B4651AB-0BCF-47DC-ACA4-AFF3274E36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7" name="Straight Connector 146" hidden="1">
              <a:extLst>
                <a:ext uri="{FF2B5EF4-FFF2-40B4-BE49-F238E27FC236}">
                  <a16:creationId xmlns:a16="http://schemas.microsoft.com/office/drawing/2014/main" id="{BBAF41AC-94C0-4628-831A-7CC54CABA3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8" name="Straight Connector 147" hidden="1">
              <a:extLst>
                <a:ext uri="{FF2B5EF4-FFF2-40B4-BE49-F238E27FC236}">
                  <a16:creationId xmlns:a16="http://schemas.microsoft.com/office/drawing/2014/main" id="{FD5FFD6B-DCBB-4D3F-8A11-8EF149657B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9" name="Straight Connector 148" hidden="1">
              <a:extLst>
                <a:ext uri="{FF2B5EF4-FFF2-40B4-BE49-F238E27FC236}">
                  <a16:creationId xmlns:a16="http://schemas.microsoft.com/office/drawing/2014/main" id="{DDCD2B4B-B680-4E86-BF3C-ED9D58EF6D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0" name="Straight Connector 149" hidden="1">
              <a:extLst>
                <a:ext uri="{FF2B5EF4-FFF2-40B4-BE49-F238E27FC236}">
                  <a16:creationId xmlns:a16="http://schemas.microsoft.com/office/drawing/2014/main" id="{330D0CD6-750F-4A2A-84CA-61391B3AD5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Straight Connector 150" hidden="1">
              <a:extLst>
                <a:ext uri="{FF2B5EF4-FFF2-40B4-BE49-F238E27FC236}">
                  <a16:creationId xmlns:a16="http://schemas.microsoft.com/office/drawing/2014/main" id="{7FB36FAA-D5F8-4B20-AB85-A027356E9D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Straight Connector 151" hidden="1">
              <a:extLst>
                <a:ext uri="{FF2B5EF4-FFF2-40B4-BE49-F238E27FC236}">
                  <a16:creationId xmlns:a16="http://schemas.microsoft.com/office/drawing/2014/main" id="{5E7272A0-3079-4441-B0E3-1B296C406C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Straight Connector 152" hidden="1">
              <a:extLst>
                <a:ext uri="{FF2B5EF4-FFF2-40B4-BE49-F238E27FC236}">
                  <a16:creationId xmlns:a16="http://schemas.microsoft.com/office/drawing/2014/main" id="{4D6D0597-C4A4-4018-BCE6-4E5755711C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4" name="Straight Connector 153" hidden="1">
              <a:extLst>
                <a:ext uri="{FF2B5EF4-FFF2-40B4-BE49-F238E27FC236}">
                  <a16:creationId xmlns:a16="http://schemas.microsoft.com/office/drawing/2014/main" id="{DFC43681-DD86-42EE-AEBF-C399327C0E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5" name="Straight Connector 154" hidden="1">
              <a:extLst>
                <a:ext uri="{FF2B5EF4-FFF2-40B4-BE49-F238E27FC236}">
                  <a16:creationId xmlns:a16="http://schemas.microsoft.com/office/drawing/2014/main" id="{75986A3B-7D6F-4591-BFB5-C2B58A0130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6" name="Straight Connector 155" hidden="1">
              <a:extLst>
                <a:ext uri="{FF2B5EF4-FFF2-40B4-BE49-F238E27FC236}">
                  <a16:creationId xmlns:a16="http://schemas.microsoft.com/office/drawing/2014/main" id="{77AF5D60-6A2E-4B7A-B95B-196ED827D67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7" name="Straight Connector 156" hidden="1">
              <a:extLst>
                <a:ext uri="{FF2B5EF4-FFF2-40B4-BE49-F238E27FC236}">
                  <a16:creationId xmlns:a16="http://schemas.microsoft.com/office/drawing/2014/main" id="{FB14D75C-3FC5-49E5-93C7-1E5C8D7EC3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8" name="Straight Connector 157" hidden="1">
              <a:extLst>
                <a:ext uri="{FF2B5EF4-FFF2-40B4-BE49-F238E27FC236}">
                  <a16:creationId xmlns:a16="http://schemas.microsoft.com/office/drawing/2014/main" id="{FA9A6FE9-C426-43BE-B7B1-1A8389C7D7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9" name="Straight Connector 158" hidden="1">
              <a:extLst>
                <a:ext uri="{FF2B5EF4-FFF2-40B4-BE49-F238E27FC236}">
                  <a16:creationId xmlns:a16="http://schemas.microsoft.com/office/drawing/2014/main" id="{CA6FCDE4-C28E-402D-A221-89799E3B2B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1369800"/>
              <a:ext cx="0" cy="468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00" name="Full Grid" hidden="1">
            <a:extLst>
              <a:ext uri="{FF2B5EF4-FFF2-40B4-BE49-F238E27FC236}">
                <a16:creationId xmlns:a16="http://schemas.microsoft.com/office/drawing/2014/main" id="{EAA655A0-4017-4B47-BA09-845E572DCC48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0" y="-70200"/>
            <a:ext cx="12367200" cy="7056000"/>
            <a:chOff x="0" y="-70200"/>
            <a:chExt cx="12367200" cy="7056000"/>
          </a:xfrm>
        </p:grpSpPr>
        <p:cxnSp>
          <p:nvCxnSpPr>
            <p:cNvPr id="301" name="Straight Connector 300" hidden="1">
              <a:extLst>
                <a:ext uri="{FF2B5EF4-FFF2-40B4-BE49-F238E27FC236}">
                  <a16:creationId xmlns:a16="http://schemas.microsoft.com/office/drawing/2014/main" id="{48218EBF-9171-4D8F-A33A-30D1A5E6E3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2" name="Straight Connector 301" hidden="1">
              <a:extLst>
                <a:ext uri="{FF2B5EF4-FFF2-40B4-BE49-F238E27FC236}">
                  <a16:creationId xmlns:a16="http://schemas.microsoft.com/office/drawing/2014/main" id="{6737577C-398F-4B4C-BAB6-A13B2C2B58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02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3" name="Straight Connector 302" hidden="1">
              <a:extLst>
                <a:ext uri="{FF2B5EF4-FFF2-40B4-BE49-F238E27FC236}">
                  <a16:creationId xmlns:a16="http://schemas.microsoft.com/office/drawing/2014/main" id="{61F3BB77-6340-46D7-AAC4-E788714E87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77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4" name="Straight Connector 303" hidden="1">
              <a:extLst>
                <a:ext uri="{FF2B5EF4-FFF2-40B4-BE49-F238E27FC236}">
                  <a16:creationId xmlns:a16="http://schemas.microsoft.com/office/drawing/2014/main" id="{C32394F9-1C60-48EC-98D6-BA6D5ED17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230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5" name="Straight Connector 304" hidden="1">
              <a:extLst>
                <a:ext uri="{FF2B5EF4-FFF2-40B4-BE49-F238E27FC236}">
                  <a16:creationId xmlns:a16="http://schemas.microsoft.com/office/drawing/2014/main" id="{D2147D71-1001-4518-8300-8371652050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83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6" name="Straight Connector 305" hidden="1">
              <a:extLst>
                <a:ext uri="{FF2B5EF4-FFF2-40B4-BE49-F238E27FC236}">
                  <a16:creationId xmlns:a16="http://schemas.microsoft.com/office/drawing/2014/main" id="{B52B5DD3-B80E-46A0-9CDD-F9D40A5CCB0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136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7" name="Straight Connector 306" hidden="1">
              <a:extLst>
                <a:ext uri="{FF2B5EF4-FFF2-40B4-BE49-F238E27FC236}">
                  <a16:creationId xmlns:a16="http://schemas.microsoft.com/office/drawing/2014/main" id="{DA719995-0220-4BB2-8CE9-727CB2069D4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90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8" name="Straight Connector 307" hidden="1">
              <a:extLst>
                <a:ext uri="{FF2B5EF4-FFF2-40B4-BE49-F238E27FC236}">
                  <a16:creationId xmlns:a16="http://schemas.microsoft.com/office/drawing/2014/main" id="{CB93CB15-9DE5-4A05-ACB3-BD91B4568D3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3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9" name="Straight Connector 308" hidden="1">
              <a:extLst>
                <a:ext uri="{FF2B5EF4-FFF2-40B4-BE49-F238E27FC236}">
                  <a16:creationId xmlns:a16="http://schemas.microsoft.com/office/drawing/2014/main" id="{D4F309E9-DB74-430C-A0E2-5F8AE956D99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342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0" name="Straight Connector 309" hidden="1">
              <a:extLst>
                <a:ext uri="{FF2B5EF4-FFF2-40B4-BE49-F238E27FC236}">
                  <a16:creationId xmlns:a16="http://schemas.microsoft.com/office/drawing/2014/main" id="{A8873914-8F40-4E54-9099-FB5894910A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24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1" name="Straight Connector 310" hidden="1">
              <a:extLst>
                <a:ext uri="{FF2B5EF4-FFF2-40B4-BE49-F238E27FC236}">
                  <a16:creationId xmlns:a16="http://schemas.microsoft.com/office/drawing/2014/main" id="{324289DE-E0F8-4EDF-8B72-39BDB17E1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370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2" name="Straight Connector 311" hidden="1">
              <a:extLst>
                <a:ext uri="{FF2B5EF4-FFF2-40B4-BE49-F238E27FC236}">
                  <a16:creationId xmlns:a16="http://schemas.microsoft.com/office/drawing/2014/main" id="{48D09DFF-3AC1-4238-A369-3803F5127C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17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3" name="Straight Connector 312" hidden="1">
              <a:extLst>
                <a:ext uri="{FF2B5EF4-FFF2-40B4-BE49-F238E27FC236}">
                  <a16:creationId xmlns:a16="http://schemas.microsoft.com/office/drawing/2014/main" id="{5FBC1CD0-5D1F-458C-86D1-49C908FDF4A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4645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4" name="Straight Connector 313" hidden="1">
              <a:extLst>
                <a:ext uri="{FF2B5EF4-FFF2-40B4-BE49-F238E27FC236}">
                  <a16:creationId xmlns:a16="http://schemas.microsoft.com/office/drawing/2014/main" id="{817E8046-BB5A-4AAF-BB94-F80CBF2CBC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113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5" name="Straight Connector 314" hidden="1">
              <a:extLst>
                <a:ext uri="{FF2B5EF4-FFF2-40B4-BE49-F238E27FC236}">
                  <a16:creationId xmlns:a16="http://schemas.microsoft.com/office/drawing/2014/main" id="{E58CCB74-4B3A-4398-8878-75D153D312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5581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6" name="Straight Connector 315" hidden="1">
              <a:extLst>
                <a:ext uri="{FF2B5EF4-FFF2-40B4-BE49-F238E27FC236}">
                  <a16:creationId xmlns:a16="http://schemas.microsoft.com/office/drawing/2014/main" id="{033D2289-FEDB-4F0D-8850-03176839BB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049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7" name="Straight Connector 316" hidden="1">
              <a:extLst>
                <a:ext uri="{FF2B5EF4-FFF2-40B4-BE49-F238E27FC236}">
                  <a16:creationId xmlns:a16="http://schemas.microsoft.com/office/drawing/2014/main" id="{6FA0C498-337E-4BE4-86D5-0B5AA7FDAF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6517800"/>
              <a:ext cx="12348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8" name="Straight Connector 317" hidden="1">
              <a:extLst>
                <a:ext uri="{FF2B5EF4-FFF2-40B4-BE49-F238E27FC236}">
                  <a16:creationId xmlns:a16="http://schemas.microsoft.com/office/drawing/2014/main" id="{511FCAB4-B04C-4B4F-8C2C-3777519DA7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376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9" name="Straight Connector 318" hidden="1">
              <a:extLst>
                <a:ext uri="{FF2B5EF4-FFF2-40B4-BE49-F238E27FC236}">
                  <a16:creationId xmlns:a16="http://schemas.microsoft.com/office/drawing/2014/main" id="{540E4E6F-888E-47F6-A35B-46E6BDB233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751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0" name="Straight Connector 319" hidden="1">
              <a:extLst>
                <a:ext uri="{FF2B5EF4-FFF2-40B4-BE49-F238E27FC236}">
                  <a16:creationId xmlns:a16="http://schemas.microsoft.com/office/drawing/2014/main" id="{8D783BB6-4F64-4BA0-8CB5-576365009A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125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1" name="Straight Connector 320" hidden="1">
              <a:extLst>
                <a:ext uri="{FF2B5EF4-FFF2-40B4-BE49-F238E27FC236}">
                  <a16:creationId xmlns:a16="http://schemas.microsoft.com/office/drawing/2014/main" id="{2FB8091E-B86B-40C7-B438-5A8DAF3F373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500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2" name="Straight Connector 321" hidden="1">
              <a:extLst>
                <a:ext uri="{FF2B5EF4-FFF2-40B4-BE49-F238E27FC236}">
                  <a16:creationId xmlns:a16="http://schemas.microsoft.com/office/drawing/2014/main" id="{1C622E4C-DE1D-4D72-950C-F6F7F503C7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74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3" name="Straight Connector 322" hidden="1">
              <a:extLst>
                <a:ext uri="{FF2B5EF4-FFF2-40B4-BE49-F238E27FC236}">
                  <a16:creationId xmlns:a16="http://schemas.microsoft.com/office/drawing/2014/main" id="{E85C9C77-EDDE-4053-851F-97775DB15B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248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4" name="Straight Connector 323" hidden="1">
              <a:extLst>
                <a:ext uri="{FF2B5EF4-FFF2-40B4-BE49-F238E27FC236}">
                  <a16:creationId xmlns:a16="http://schemas.microsoft.com/office/drawing/2014/main" id="{EDE7F48D-D148-4BD3-9B5A-E9082189498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23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5" name="Straight Connector 324" hidden="1">
              <a:extLst>
                <a:ext uri="{FF2B5EF4-FFF2-40B4-BE49-F238E27FC236}">
                  <a16:creationId xmlns:a16="http://schemas.microsoft.com/office/drawing/2014/main" id="{8119006E-21FF-40D5-AD9A-E735C49E71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97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6" name="Straight Connector 325" hidden="1">
              <a:extLst>
                <a:ext uri="{FF2B5EF4-FFF2-40B4-BE49-F238E27FC236}">
                  <a16:creationId xmlns:a16="http://schemas.microsoft.com/office/drawing/2014/main" id="{FF71DEC0-BA85-47AC-9B05-C43CBFEA95E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7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7" name="Straight Connector 326" hidden="1">
              <a:extLst>
                <a:ext uri="{FF2B5EF4-FFF2-40B4-BE49-F238E27FC236}">
                  <a16:creationId xmlns:a16="http://schemas.microsoft.com/office/drawing/2014/main" id="{4995F406-2D81-4563-A04C-156ED74282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74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8" name="Straight Connector 327" hidden="1">
              <a:extLst>
                <a:ext uri="{FF2B5EF4-FFF2-40B4-BE49-F238E27FC236}">
                  <a16:creationId xmlns:a16="http://schemas.microsoft.com/office/drawing/2014/main" id="{71FB6C91-9BEA-4E57-B92F-4BE3DAC3BD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12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9" name="Straight Connector 328" hidden="1">
              <a:extLst>
                <a:ext uri="{FF2B5EF4-FFF2-40B4-BE49-F238E27FC236}">
                  <a16:creationId xmlns:a16="http://schemas.microsoft.com/office/drawing/2014/main" id="{AAF24AF1-EEAD-4D90-965C-9AE126504AD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49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0" name="Straight Connector 329" hidden="1">
              <a:extLst>
                <a:ext uri="{FF2B5EF4-FFF2-40B4-BE49-F238E27FC236}">
                  <a16:creationId xmlns:a16="http://schemas.microsoft.com/office/drawing/2014/main" id="{2BE91DA1-C8BE-44DC-8452-324FE5B387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6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1" name="Straight Connector 330" hidden="1">
              <a:extLst>
                <a:ext uri="{FF2B5EF4-FFF2-40B4-BE49-F238E27FC236}">
                  <a16:creationId xmlns:a16="http://schemas.microsoft.com/office/drawing/2014/main" id="{B57928EE-5A2E-47A4-86C8-8E08B795D6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24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2" name="Straight Connector 331" hidden="1">
              <a:extLst>
                <a:ext uri="{FF2B5EF4-FFF2-40B4-BE49-F238E27FC236}">
                  <a16:creationId xmlns:a16="http://schemas.microsoft.com/office/drawing/2014/main" id="{90817F6C-93C7-4A2F-844D-EEC0864B49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61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3" name="Straight Connector 332" hidden="1">
              <a:extLst>
                <a:ext uri="{FF2B5EF4-FFF2-40B4-BE49-F238E27FC236}">
                  <a16:creationId xmlns:a16="http://schemas.microsoft.com/office/drawing/2014/main" id="{A824F516-3C62-4A83-8A2F-C597C14585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99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4" name="Straight Connector 333" hidden="1">
              <a:extLst>
                <a:ext uri="{FF2B5EF4-FFF2-40B4-BE49-F238E27FC236}">
                  <a16:creationId xmlns:a16="http://schemas.microsoft.com/office/drawing/2014/main" id="{575C7B0F-53E6-404C-A096-E20F0508EB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28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5" name="Straight Connector 334" hidden="1">
              <a:extLst>
                <a:ext uri="{FF2B5EF4-FFF2-40B4-BE49-F238E27FC236}">
                  <a16:creationId xmlns:a16="http://schemas.microsoft.com/office/drawing/2014/main" id="{EEBDA4A6-D35F-4D08-87C9-B93A6EAF40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253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6" name="Straight Connector 335" hidden="1">
              <a:extLst>
                <a:ext uri="{FF2B5EF4-FFF2-40B4-BE49-F238E27FC236}">
                  <a16:creationId xmlns:a16="http://schemas.microsoft.com/office/drawing/2014/main" id="{627F72B9-76BF-4391-9BC9-E3B85369D8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879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7" name="Straight Connector 336" hidden="1">
              <a:extLst>
                <a:ext uri="{FF2B5EF4-FFF2-40B4-BE49-F238E27FC236}">
                  <a16:creationId xmlns:a16="http://schemas.microsoft.com/office/drawing/2014/main" id="{F31F1370-C081-4B29-83D7-DB2A4E73AC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04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8" name="Straight Connector 337" hidden="1">
              <a:extLst>
                <a:ext uri="{FF2B5EF4-FFF2-40B4-BE49-F238E27FC236}">
                  <a16:creationId xmlns:a16="http://schemas.microsoft.com/office/drawing/2014/main" id="{DB23C504-C3EB-442F-81C4-06CEFB43D0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30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9" name="Straight Connector 338" hidden="1">
              <a:extLst>
                <a:ext uri="{FF2B5EF4-FFF2-40B4-BE49-F238E27FC236}">
                  <a16:creationId xmlns:a16="http://schemas.microsoft.com/office/drawing/2014/main" id="{8F2E88F4-224A-4DF8-A1AD-E99EE2D28BE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756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0" name="Straight Connector 339" hidden="1">
              <a:extLst>
                <a:ext uri="{FF2B5EF4-FFF2-40B4-BE49-F238E27FC236}">
                  <a16:creationId xmlns:a16="http://schemas.microsoft.com/office/drawing/2014/main" id="{C5EAE255-8630-4283-BDD8-6EE7C540D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381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1" name="Straight Connector 340" hidden="1">
              <a:extLst>
                <a:ext uri="{FF2B5EF4-FFF2-40B4-BE49-F238E27FC236}">
                  <a16:creationId xmlns:a16="http://schemas.microsoft.com/office/drawing/2014/main" id="{A561162D-47AF-4E01-B81F-CD78A03E1B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0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2" name="Straight Connector 341" hidden="1">
              <a:extLst>
                <a:ext uri="{FF2B5EF4-FFF2-40B4-BE49-F238E27FC236}">
                  <a16:creationId xmlns:a16="http://schemas.microsoft.com/office/drawing/2014/main" id="{2C20074D-4C49-46CB-9931-819778D38C5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632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3" name="Straight Connector 342" hidden="1">
              <a:extLst>
                <a:ext uri="{FF2B5EF4-FFF2-40B4-BE49-F238E27FC236}">
                  <a16:creationId xmlns:a16="http://schemas.microsoft.com/office/drawing/2014/main" id="{062FA2EE-A4D8-4A37-BB39-9A8A23ABE25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258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4" name="Straight Connector 343" hidden="1">
              <a:extLst>
                <a:ext uri="{FF2B5EF4-FFF2-40B4-BE49-F238E27FC236}">
                  <a16:creationId xmlns:a16="http://schemas.microsoft.com/office/drawing/2014/main" id="{6C661B57-DBAB-41A7-B2AC-C814132D30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84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5" name="Straight Connector 344" hidden="1">
              <a:extLst>
                <a:ext uri="{FF2B5EF4-FFF2-40B4-BE49-F238E27FC236}">
                  <a16:creationId xmlns:a16="http://schemas.microsoft.com/office/drawing/2014/main" id="{209F4A46-4D75-4F8F-88B9-BE8F6A463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096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6" name="Straight Connector 345" hidden="1">
              <a:extLst>
                <a:ext uri="{FF2B5EF4-FFF2-40B4-BE49-F238E27FC236}">
                  <a16:creationId xmlns:a16="http://schemas.microsoft.com/office/drawing/2014/main" id="{01FB4020-8697-49A5-812E-93760AA24D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5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7" name="Straight Connector 346" hidden="1">
              <a:extLst>
                <a:ext uri="{FF2B5EF4-FFF2-40B4-BE49-F238E27FC236}">
                  <a16:creationId xmlns:a16="http://schemas.microsoft.com/office/drawing/2014/main" id="{AB981469-9BFE-432D-A134-6F34C8ECD1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08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8" name="Straight Connector 347" hidden="1">
              <a:extLst>
                <a:ext uri="{FF2B5EF4-FFF2-40B4-BE49-F238E27FC236}">
                  <a16:creationId xmlns:a16="http://schemas.microsoft.com/office/drawing/2014/main" id="{64F910DD-E3AB-4094-BD87-390D194861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864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9" name="Straight Connector 348" hidden="1">
              <a:extLst>
                <a:ext uri="{FF2B5EF4-FFF2-40B4-BE49-F238E27FC236}">
                  <a16:creationId xmlns:a16="http://schemas.microsoft.com/office/drawing/2014/main" id="{8172B6B2-B6E9-42F2-9E21-D99612FECB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672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0" name="Straight Connector 349" hidden="1">
              <a:extLst>
                <a:ext uri="{FF2B5EF4-FFF2-40B4-BE49-F238E27FC236}">
                  <a16:creationId xmlns:a16="http://schemas.microsoft.com/office/drawing/2014/main" id="{FF9B3914-70C1-4B52-B02C-76628BFC9B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000" y="-70200"/>
              <a:ext cx="0" cy="7056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1" name="Straight Connector 350" hidden="1">
              <a:extLst>
                <a:ext uri="{FF2B5EF4-FFF2-40B4-BE49-F238E27FC236}">
                  <a16:creationId xmlns:a16="http://schemas.microsoft.com/office/drawing/2014/main" id="{FFD30D47-D357-4EF4-A460-4DCBFC957D2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6985800"/>
              <a:ext cx="123672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 useBgFill="1">
        <p:nvSpPr>
          <p:cNvPr id="3" name="Title Placeholder">
            <a:extLst>
              <a:ext uri="{FF2B5EF4-FFF2-40B4-BE49-F238E27FC236}">
                <a16:creationId xmlns:a16="http://schemas.microsoft.com/office/drawing/2014/main" id="{6204A2EB-1C19-4C64-81DC-1BDFEC05E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  <a:prstGeom prst="rect">
            <a:avLst/>
          </a:prstGeom>
        </p:spPr>
        <p:txBody>
          <a:bodyPr vert="horz" wrap="square" lIns="0" tIns="360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EDC0CEFE-B93D-446C-A98D-4EBC1C91F3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5764" y="1370012"/>
            <a:ext cx="10858500" cy="46799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27FC136-A26A-487A-91EC-E1BE2A7C6D4D}"/>
              </a:ext>
            </a:extLst>
          </p:cNvPr>
          <p:cNvSpPr>
            <a:spLocks noGrp="1"/>
          </p:cNvSpPr>
          <p:nvPr>
            <p:ph type="dt" sz="half" idx="8"/>
          </p:nvPr>
        </p:nvSpPr>
        <p:spPr>
          <a:xfrm>
            <a:off x="1135064" y="6518273"/>
            <a:ext cx="1076536" cy="139926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fld id="{DDEC559E-07BB-4B63-8C94-01E860D56791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102" name="empower - DO NOT DELETE!!!" hidden="1">
            <a:extLst>
              <a:ext uri="{FF2B5EF4-FFF2-40B4-BE49-F238E27FC236}">
                <a16:creationId xmlns:a16="http://schemas.microsoft.com/office/drawing/2014/main" id="{FED25113-06BE-4303-8C56-C7ECFD0C1D96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103" name="Note Footer" hidden="1">
            <a:extLst>
              <a:ext uri="{FF2B5EF4-FFF2-40B4-BE49-F238E27FC236}">
                <a16:creationId xmlns:a16="http://schemas.microsoft.com/office/drawing/2014/main" id="{874FC37C-0743-4F3A-A2FA-52CD313C8FD2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-3170400" y="22636"/>
            <a:ext cx="2901600" cy="2376764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t"/>
          <a:lstStyle/>
          <a:p>
            <a:pPr algn="l"/>
            <a:r>
              <a:rPr lang="en-US" sz="1200" b="1" dirty="0"/>
              <a:t>Add image</a:t>
            </a:r>
          </a:p>
          <a:p>
            <a:pPr algn="l"/>
            <a:r>
              <a:rPr lang="en-US" sz="1200" dirty="0"/>
              <a:t>To add an image to this slide you can drag an image to the slide. Or click the icon to select the image.</a:t>
            </a:r>
          </a:p>
          <a:p>
            <a:pPr algn="l"/>
            <a:r>
              <a:rPr lang="en-US" sz="1200" dirty="0"/>
              <a:t>If you want to reposition the image right click it and select Crop. Now you can use the round handles to change the size or drag the image to reposition it.</a:t>
            </a:r>
          </a:p>
        </p:txBody>
      </p:sp>
      <p:sp>
        <p:nvSpPr>
          <p:cNvPr id="104" name="Note Image" hidden="1">
            <a:extLst>
              <a:ext uri="{FF2B5EF4-FFF2-40B4-BE49-F238E27FC236}">
                <a16:creationId xmlns:a16="http://schemas.microsoft.com/office/drawing/2014/main" id="{490EDF33-79D6-42D6-A539-7968E42924EA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-3170400" y="4892400"/>
            <a:ext cx="2901600" cy="1965600"/>
          </a:xfrm>
          <a:prstGeom prst="rect">
            <a:avLst/>
          </a:prstGeom>
          <a:gradFill flip="none" rotWithShape="1">
            <a:gsLst>
              <a:gs pos="1000">
                <a:srgbClr val="0D26AC"/>
              </a:gs>
              <a:gs pos="99000">
                <a:srgbClr val="009FDE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288000" rIns="288000" bIns="288000" rtlCol="0" anchor="ctr"/>
          <a:lstStyle/>
          <a:p>
            <a:pPr algn="l"/>
            <a:r>
              <a:rPr lang="en-US" sz="1200" b="1" dirty="0"/>
              <a:t>Add footer</a:t>
            </a:r>
          </a:p>
          <a:p>
            <a:pPr algn="l"/>
            <a:r>
              <a:rPr lang="en-US" sz="1200" dirty="0"/>
              <a:t>You can edit the footer (e.g. presentation description, date) using the slide via the </a:t>
            </a:r>
            <a:r>
              <a:rPr lang="en-US" sz="1200" b="1" dirty="0"/>
              <a:t>empower(R) presentation settings.</a:t>
            </a:r>
          </a:p>
          <a:p>
            <a:pPr algn="l"/>
            <a:r>
              <a:rPr lang="en-US" sz="1200" dirty="0"/>
              <a:t>Select and set the elements you want to show on either one or all slid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AF629C-9AF9-4125-871F-9B5251005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8400" y="6518277"/>
            <a:ext cx="8985600" cy="139924"/>
          </a:xfrm>
          <a:prstGeom prst="rect">
            <a:avLst/>
          </a:prstGeom>
        </p:spPr>
        <p:txBody>
          <a:bodyPr vert="horz" lIns="0" tIns="187200" rIns="0" bIns="0" rtlCol="0" anchor="b"/>
          <a:lstStyle>
            <a:lvl1pPr>
              <a:defRPr lang="en-US" sz="700"/>
            </a:lvl1pPr>
          </a:lstStyle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F6BB2D-86F7-7E0E-51F4-AD7D39854F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1200" y="6518273"/>
            <a:ext cx="655199" cy="1397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age </a:t>
            </a:r>
            <a:fld id="{80AA4FC3-2611-470F-8F65-3665378A6692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MSIPCMContentMarking" descr="{&quot;HashCode&quot;:-1584269589,&quot;Placement&quot;:&quot;Footer&quot;,&quot;Top&quot;:524.1047,&quot;Left&quot;:905.3905,&quot;SlideWidth&quot;:960,&quot;SlideHeight&quot;:540}">
            <a:extLst>
              <a:ext uri="{FF2B5EF4-FFF2-40B4-BE49-F238E27FC236}">
                <a16:creationId xmlns:a16="http://schemas.microsoft.com/office/drawing/2014/main" id="{E8AF3F43-20A7-C8E8-1F8F-C187275774E8}"/>
              </a:ext>
            </a:extLst>
          </p:cNvPr>
          <p:cNvSpPr txBox="1"/>
          <p:nvPr userDrawn="1"/>
        </p:nvSpPr>
        <p:spPr>
          <a:xfrm>
            <a:off x="11498459" y="6656129"/>
            <a:ext cx="693541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 defTabSz="37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Confidential</a:t>
            </a:r>
            <a:endParaRPr lang="en-US" sz="7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0" r:id="rId2"/>
    <p:sldLayoutId id="2147483679" r:id="rId3"/>
    <p:sldLayoutId id="2147483659" r:id="rId4"/>
    <p:sldLayoutId id="2147483653" r:id="rId5"/>
    <p:sldLayoutId id="2147483672" r:id="rId6"/>
    <p:sldLayoutId id="2147483674" r:id="rId7"/>
    <p:sldLayoutId id="2147483683" r:id="rId8"/>
    <p:sldLayoutId id="2147483682" r:id="rId9"/>
    <p:sldLayoutId id="2147483681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671" r:id="rId27"/>
    <p:sldLayoutId id="2147483678" r:id="rId28"/>
    <p:sldLayoutId id="2147483680" r:id="rId29"/>
  </p:sldLayoutIdLst>
  <p:hf hdr="0"/>
  <p:txStyles>
    <p:titleStyle>
      <a:lvl1pPr algn="l" defTabSz="374400" rtl="0" eaLnBrk="1" latinLnBrk="0" hangingPunct="1">
        <a:lnSpc>
          <a:spcPct val="100000"/>
        </a:lnSpc>
        <a:spcBef>
          <a:spcPct val="0"/>
        </a:spcBef>
        <a:spcAft>
          <a:spcPts val="737"/>
        </a:spcAft>
        <a:buNone/>
        <a:defRPr sz="24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39725" indent="-339725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68325" indent="-22860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4220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64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90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7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68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1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SzPct val="90000"/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4220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64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90800" indent="-284400" algn="l" defTabSz="374400" rtl="0" eaLnBrk="1" latinLnBrk="0" hangingPunct="1">
        <a:lnSpc>
          <a:spcPct val="100000"/>
        </a:lnSpc>
        <a:spcBef>
          <a:spcPts val="0"/>
        </a:spcBef>
        <a:spcAft>
          <a:spcPts val="100"/>
        </a:spcAft>
        <a:buFont typeface="Arial" panose="020B0604020202020204" pitchFamily="34" charset="0"/>
        <a:buChar char="•"/>
        <a:defRPr sz="7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37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51A955-CFC4-4F04-83D3-B7228211B3DB}"/>
              </a:ext>
            </a:extLst>
          </p:cNvPr>
          <p:cNvSpPr>
            <a:spLocks noGrp="1"/>
          </p:cNvSpPr>
          <p:nvPr>
            <p:ph type="ftr" sz="quarter" idx="9"/>
          </p:nvPr>
        </p:nvSpPr>
        <p:spPr>
          <a:xfrm>
            <a:off x="12182947" y="6848947"/>
            <a:ext cx="0" cy="0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9EAA70-3028-435F-B1FC-D31DD21790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182947" y="6848947"/>
            <a:ext cx="0" cy="0"/>
          </a:xfrm>
        </p:spPr>
        <p:txBody>
          <a:bodyPr/>
          <a:lstStyle/>
          <a:p>
            <a:fld id="{A2218858-49EA-4BF8-8EFE-B88A4580565A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A4E44F1-7D5E-4F87-918E-B7456E02747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FA7A119-91B3-4EF8-8BAA-ABA30524E7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05325" y="1557179"/>
            <a:ext cx="5849475" cy="935641"/>
          </a:xfrm>
        </p:spPr>
        <p:txBody>
          <a:bodyPr/>
          <a:lstStyle/>
          <a:p>
            <a:r>
              <a:rPr lang="en-US" dirty="0"/>
              <a:t>Limits on leaf switch and ACI MCP protocol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D6508DA1-A757-4321-A5F7-822E5A794AA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8D2F8F6-D39E-421C-9E1D-A0E9BFFD9618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10F3688-3D64-41CE-9799-8D7464E0D0C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13D0E2B-4147-4A92-93E9-4BF7D07B2FB3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B3B1B1E-8EDF-4CB0-90F2-B82E438C177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39CA04-15E2-4EA1-BC06-208124904FF1}"/>
              </a:ext>
            </a:extLst>
          </p:cNvPr>
          <p:cNvSpPr>
            <a:spLocks noGrp="1"/>
          </p:cNvSpPr>
          <p:nvPr>
            <p:ph type="dt" sz="half" idx="8"/>
          </p:nvPr>
        </p:nvSpPr>
        <p:spPr/>
        <p:txBody>
          <a:bodyPr/>
          <a:lstStyle/>
          <a:p>
            <a:fld id="{63DDB710-0227-4EAB-8159-7458BF5EFB73}" type="datetime4">
              <a:rPr lang="en-US"/>
              <a:pPr/>
              <a:t>March 25, 2024</a:t>
            </a:fld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78BDC45-E43D-F262-BEFB-A25D4E635772}"/>
              </a:ext>
            </a:extLst>
          </p:cNvPr>
          <p:cNvSpPr txBox="1"/>
          <p:nvPr/>
        </p:nvSpPr>
        <p:spPr>
          <a:xfrm>
            <a:off x="4515112" y="4320367"/>
            <a:ext cx="5096401" cy="1754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dirty="0">
                <a:solidFill>
                  <a:schemeClr val="lt1"/>
                </a:solidFill>
              </a:rPr>
              <a:t>CREATION DATE: YYYY-MM-DD</a:t>
            </a:r>
          </a:p>
        </p:txBody>
      </p:sp>
    </p:spTree>
    <p:extLst>
      <p:ext uri="{BB962C8B-B14F-4D97-AF65-F5344CB8AC3E}">
        <p14:creationId xmlns:p14="http://schemas.microsoft.com/office/powerpoint/2010/main" val="2995711811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B0230DD-FCDE-B8C6-4EEE-3FD5DAC42573}"/>
              </a:ext>
            </a:extLst>
          </p:cNvPr>
          <p:cNvCxnSpPr>
            <a:cxnSpLocks/>
          </p:cNvCxnSpPr>
          <p:nvPr/>
        </p:nvCxnSpPr>
        <p:spPr>
          <a:xfrm>
            <a:off x="7467600" y="1651000"/>
            <a:ext cx="0" cy="1143000"/>
          </a:xfrm>
          <a:prstGeom prst="line">
            <a:avLst/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7F9605B-1478-91A7-861E-88296F73B6B0}"/>
              </a:ext>
            </a:extLst>
          </p:cNvPr>
          <p:cNvCxnSpPr/>
          <p:nvPr/>
        </p:nvCxnSpPr>
        <p:spPr>
          <a:xfrm>
            <a:off x="4267200" y="1701800"/>
            <a:ext cx="0" cy="1066800"/>
          </a:xfrm>
          <a:prstGeom prst="line">
            <a:avLst/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88003DDD-F3A9-14DC-DC1E-CBDE45048B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52400"/>
            <a:ext cx="10858500" cy="372967"/>
          </a:xfrm>
        </p:spPr>
        <p:txBody>
          <a:bodyPr/>
          <a:lstStyle/>
          <a:p>
            <a:r>
              <a:rPr lang="en-US" dirty="0"/>
              <a:t>Mid Term Solution 2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EBB2D3-62E4-7804-09A3-FBE62285777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BA2F51-6FF2-6CB7-313C-DAA88F6A7E8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C962D4-A8D9-2DB0-4A69-FC49E66E217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0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EF06F4-4417-B7CA-BD28-2E777E8A7F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5800" y="1524000"/>
            <a:ext cx="1219200" cy="247650"/>
          </a:xfrm>
          <a:prstGeom prst="rect">
            <a:avLst/>
          </a:prstGeom>
        </p:spPr>
      </p:pic>
      <p:grpSp>
        <p:nvGrpSpPr>
          <p:cNvPr id="65" name="Group 64">
            <a:extLst>
              <a:ext uri="{FF2B5EF4-FFF2-40B4-BE49-F238E27FC236}">
                <a16:creationId xmlns:a16="http://schemas.microsoft.com/office/drawing/2014/main" id="{B37743FA-6F58-4C28-CD88-2D5C3F180F5A}"/>
              </a:ext>
            </a:extLst>
          </p:cNvPr>
          <p:cNvGrpSpPr/>
          <p:nvPr/>
        </p:nvGrpSpPr>
        <p:grpSpPr>
          <a:xfrm>
            <a:off x="3657600" y="2743200"/>
            <a:ext cx="4438650" cy="3133725"/>
            <a:chOff x="3657600" y="2819400"/>
            <a:chExt cx="4438650" cy="3133725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BBF1496-E05A-C6CC-468A-D57E6739E1C2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0" y="2971800"/>
              <a:ext cx="0" cy="990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8821E2A-2EED-8EA4-694F-A5B83650C7A8}"/>
                </a:ext>
              </a:extLst>
            </p:cNvPr>
            <p:cNvCxnSpPr>
              <a:cxnSpLocks/>
            </p:cNvCxnSpPr>
            <p:nvPr/>
          </p:nvCxnSpPr>
          <p:spPr>
            <a:xfrm>
              <a:off x="7162800" y="2971800"/>
              <a:ext cx="0" cy="990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5E480EF-5C4A-1E33-4085-ADB9B9131660}"/>
                </a:ext>
              </a:extLst>
            </p:cNvPr>
            <p:cNvCxnSpPr>
              <a:cxnSpLocks/>
            </p:cNvCxnSpPr>
            <p:nvPr/>
          </p:nvCxnSpPr>
          <p:spPr>
            <a:xfrm>
              <a:off x="4343400" y="2971800"/>
              <a:ext cx="0" cy="2362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3DE6573-B307-B967-022F-1D500F589BE2}"/>
                </a:ext>
              </a:extLst>
            </p:cNvPr>
            <p:cNvCxnSpPr>
              <a:cxnSpLocks/>
            </p:cNvCxnSpPr>
            <p:nvPr/>
          </p:nvCxnSpPr>
          <p:spPr>
            <a:xfrm>
              <a:off x="7391400" y="2971800"/>
              <a:ext cx="0" cy="2362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0323E63-C06A-BD3B-B379-90FB79E560E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63208" y="3962400"/>
              <a:ext cx="68580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2382AC4A-AF67-3CA2-DF52-C52F846A11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34607" y="5334000"/>
              <a:ext cx="92319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A4014C11-8DD2-7488-A699-100C10D5796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94584" y="3962400"/>
              <a:ext cx="68580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E2E3441-12DE-836A-DF76-DA4E72843C9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714392" y="5334000"/>
              <a:ext cx="68580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0EC5AEA4-393E-B0B5-458F-9211FD51FE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7600" y="2819400"/>
              <a:ext cx="1771650" cy="190500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E2B20BD-6375-5F64-0A05-A948D9838C8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324600" y="2819400"/>
              <a:ext cx="1771650" cy="190500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C88F815-D178-1D97-C8CB-05D2962925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29200" y="3657600"/>
              <a:ext cx="1771650" cy="1000125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D3A1779-C084-2420-FE49-7123466A45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29200" y="4953000"/>
              <a:ext cx="1771650" cy="1000125"/>
            </a:xfrm>
            <a:prstGeom prst="rect">
              <a:avLst/>
            </a:prstGeom>
          </p:spPr>
        </p:pic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BC68C59-6F5C-A2AC-A68A-9B90B6AC902A}"/>
              </a:ext>
            </a:extLst>
          </p:cNvPr>
          <p:cNvCxnSpPr/>
          <p:nvPr/>
        </p:nvCxnSpPr>
        <p:spPr>
          <a:xfrm>
            <a:off x="4683629" y="1695450"/>
            <a:ext cx="0" cy="114300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46F8D43-F79D-3980-2E1F-3CDD21A99109}"/>
              </a:ext>
            </a:extLst>
          </p:cNvPr>
          <p:cNvCxnSpPr/>
          <p:nvPr/>
        </p:nvCxnSpPr>
        <p:spPr>
          <a:xfrm>
            <a:off x="7122029" y="1619250"/>
            <a:ext cx="0" cy="114300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D1AA468-CCBE-E77A-E52F-EAABC4305066}"/>
              </a:ext>
            </a:extLst>
          </p:cNvPr>
          <p:cNvCxnSpPr>
            <a:cxnSpLocks/>
          </p:cNvCxnSpPr>
          <p:nvPr/>
        </p:nvCxnSpPr>
        <p:spPr>
          <a:xfrm>
            <a:off x="4683629" y="1695450"/>
            <a:ext cx="2438400" cy="106680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102F23E-11B7-95ED-E39D-ED6F544D7AB2}"/>
              </a:ext>
            </a:extLst>
          </p:cNvPr>
          <p:cNvCxnSpPr>
            <a:cxnSpLocks/>
          </p:cNvCxnSpPr>
          <p:nvPr/>
        </p:nvCxnSpPr>
        <p:spPr>
          <a:xfrm flipV="1">
            <a:off x="4683629" y="1619250"/>
            <a:ext cx="2438400" cy="121920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35AA5E08-B800-A09D-3A28-A24C1E0537DE}"/>
              </a:ext>
            </a:extLst>
          </p:cNvPr>
          <p:cNvSpPr/>
          <p:nvPr/>
        </p:nvSpPr>
        <p:spPr>
          <a:xfrm>
            <a:off x="4648200" y="16954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Circle: Hollow 15">
            <a:extLst>
              <a:ext uri="{FF2B5EF4-FFF2-40B4-BE49-F238E27FC236}">
                <a16:creationId xmlns:a16="http://schemas.microsoft.com/office/drawing/2014/main" id="{048F7CD0-2EEF-E1AA-EF96-1735BF6F00DB}"/>
              </a:ext>
            </a:extLst>
          </p:cNvPr>
          <p:cNvSpPr/>
          <p:nvPr/>
        </p:nvSpPr>
        <p:spPr>
          <a:xfrm>
            <a:off x="4657253" y="23812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0ED511DC-A5C7-D97E-C82B-EBB7BA12C0E0}"/>
              </a:ext>
            </a:extLst>
          </p:cNvPr>
          <p:cNvSpPr/>
          <p:nvPr/>
        </p:nvSpPr>
        <p:spPr>
          <a:xfrm>
            <a:off x="4657253" y="27622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647471D6-4A10-7D65-E25F-A7C57488D8E1}"/>
              </a:ext>
            </a:extLst>
          </p:cNvPr>
          <p:cNvSpPr/>
          <p:nvPr/>
        </p:nvSpPr>
        <p:spPr>
          <a:xfrm>
            <a:off x="7086128" y="16002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4F83D398-A263-39A7-997C-7E5AF5B07C4D}"/>
              </a:ext>
            </a:extLst>
          </p:cNvPr>
          <p:cNvSpPr/>
          <p:nvPr/>
        </p:nvSpPr>
        <p:spPr>
          <a:xfrm>
            <a:off x="7095653" y="19240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2E5A5F87-2A15-BB0F-C7F8-FAE61D1E5C4C}"/>
              </a:ext>
            </a:extLst>
          </p:cNvPr>
          <p:cNvSpPr/>
          <p:nvPr/>
        </p:nvSpPr>
        <p:spPr>
          <a:xfrm>
            <a:off x="7080413" y="22669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1" name="Circle: Hollow 30">
            <a:extLst>
              <a:ext uri="{FF2B5EF4-FFF2-40B4-BE49-F238E27FC236}">
                <a16:creationId xmlns:a16="http://schemas.microsoft.com/office/drawing/2014/main" id="{C703B485-A3BB-010A-BE9F-B2E4AAD8857A}"/>
              </a:ext>
            </a:extLst>
          </p:cNvPr>
          <p:cNvSpPr/>
          <p:nvPr/>
        </p:nvSpPr>
        <p:spPr>
          <a:xfrm>
            <a:off x="7095653" y="27622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1" name="Circle: Hollow 50">
            <a:extLst>
              <a:ext uri="{FF2B5EF4-FFF2-40B4-BE49-F238E27FC236}">
                <a16:creationId xmlns:a16="http://schemas.microsoft.com/office/drawing/2014/main" id="{DB69CF9C-C8BD-1631-526C-51174574319D}"/>
              </a:ext>
            </a:extLst>
          </p:cNvPr>
          <p:cNvSpPr/>
          <p:nvPr/>
        </p:nvSpPr>
        <p:spPr>
          <a:xfrm>
            <a:off x="5029200" y="25908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3" name="Circle: Hollow 52">
            <a:extLst>
              <a:ext uri="{FF2B5EF4-FFF2-40B4-BE49-F238E27FC236}">
                <a16:creationId xmlns:a16="http://schemas.microsoft.com/office/drawing/2014/main" id="{E3686602-F291-99FC-C5E2-3C80A3F1A42E}"/>
              </a:ext>
            </a:extLst>
          </p:cNvPr>
          <p:cNvSpPr/>
          <p:nvPr/>
        </p:nvSpPr>
        <p:spPr>
          <a:xfrm>
            <a:off x="5410200" y="24384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4" name="Circle: Hollow 53">
            <a:extLst>
              <a:ext uri="{FF2B5EF4-FFF2-40B4-BE49-F238E27FC236}">
                <a16:creationId xmlns:a16="http://schemas.microsoft.com/office/drawing/2014/main" id="{2F5435AB-7C6A-2077-0BF0-E26794472038}"/>
              </a:ext>
            </a:extLst>
          </p:cNvPr>
          <p:cNvSpPr/>
          <p:nvPr/>
        </p:nvSpPr>
        <p:spPr>
          <a:xfrm>
            <a:off x="5791200" y="22098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5" name="Circle: Hollow 54">
            <a:extLst>
              <a:ext uri="{FF2B5EF4-FFF2-40B4-BE49-F238E27FC236}">
                <a16:creationId xmlns:a16="http://schemas.microsoft.com/office/drawing/2014/main" id="{3F4B1553-D816-E097-CC4D-BB1F28783C0E}"/>
              </a:ext>
            </a:extLst>
          </p:cNvPr>
          <p:cNvSpPr/>
          <p:nvPr/>
        </p:nvSpPr>
        <p:spPr>
          <a:xfrm>
            <a:off x="6172200" y="20574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6" name="Circle: Hollow 55">
            <a:extLst>
              <a:ext uri="{FF2B5EF4-FFF2-40B4-BE49-F238E27FC236}">
                <a16:creationId xmlns:a16="http://schemas.microsoft.com/office/drawing/2014/main" id="{47D0773B-B614-7ADA-5D29-C6895D49DB04}"/>
              </a:ext>
            </a:extLst>
          </p:cNvPr>
          <p:cNvSpPr/>
          <p:nvPr/>
        </p:nvSpPr>
        <p:spPr>
          <a:xfrm>
            <a:off x="6543674" y="1838326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8" name="Circle: Hollow 57">
            <a:extLst>
              <a:ext uri="{FF2B5EF4-FFF2-40B4-BE49-F238E27FC236}">
                <a16:creationId xmlns:a16="http://schemas.microsoft.com/office/drawing/2014/main" id="{0F9DB464-F8AC-BFAA-FFBF-01DCA45E2F58}"/>
              </a:ext>
            </a:extLst>
          </p:cNvPr>
          <p:cNvSpPr/>
          <p:nvPr/>
        </p:nvSpPr>
        <p:spPr>
          <a:xfrm>
            <a:off x="6915148" y="16764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0" name="Circle: Hollow 59">
            <a:extLst>
              <a:ext uri="{FF2B5EF4-FFF2-40B4-BE49-F238E27FC236}">
                <a16:creationId xmlns:a16="http://schemas.microsoft.com/office/drawing/2014/main" id="{F9F596D9-92F4-EDAD-9DA9-4E987D1D60B8}"/>
              </a:ext>
            </a:extLst>
          </p:cNvPr>
          <p:cNvSpPr/>
          <p:nvPr/>
        </p:nvSpPr>
        <p:spPr>
          <a:xfrm>
            <a:off x="6696074" y="2543178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1" name="Circle: Hollow 60">
            <a:extLst>
              <a:ext uri="{FF2B5EF4-FFF2-40B4-BE49-F238E27FC236}">
                <a16:creationId xmlns:a16="http://schemas.microsoft.com/office/drawing/2014/main" id="{EE1A208B-8FA8-799C-E9DC-F50495799C5E}"/>
              </a:ext>
            </a:extLst>
          </p:cNvPr>
          <p:cNvSpPr/>
          <p:nvPr/>
        </p:nvSpPr>
        <p:spPr>
          <a:xfrm>
            <a:off x="6248400" y="23622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2" name="Circle: Hollow 61">
            <a:extLst>
              <a:ext uri="{FF2B5EF4-FFF2-40B4-BE49-F238E27FC236}">
                <a16:creationId xmlns:a16="http://schemas.microsoft.com/office/drawing/2014/main" id="{5B0B9B03-2AFE-72E0-8F76-1800BB79459C}"/>
              </a:ext>
            </a:extLst>
          </p:cNvPr>
          <p:cNvSpPr/>
          <p:nvPr/>
        </p:nvSpPr>
        <p:spPr>
          <a:xfrm>
            <a:off x="5791200" y="2140213"/>
            <a:ext cx="76200" cy="62975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3" name="Circle: Hollow 62">
            <a:extLst>
              <a:ext uri="{FF2B5EF4-FFF2-40B4-BE49-F238E27FC236}">
                <a16:creationId xmlns:a16="http://schemas.microsoft.com/office/drawing/2014/main" id="{4790D9AC-50F8-BC93-A99D-3071101B65E2}"/>
              </a:ext>
            </a:extLst>
          </p:cNvPr>
          <p:cNvSpPr/>
          <p:nvPr/>
        </p:nvSpPr>
        <p:spPr>
          <a:xfrm>
            <a:off x="5334000" y="1971674"/>
            <a:ext cx="76200" cy="62975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91B42B81-7F32-C89C-7E65-356D1B46CBF6}"/>
              </a:ext>
            </a:extLst>
          </p:cNvPr>
          <p:cNvSpPr/>
          <p:nvPr/>
        </p:nvSpPr>
        <p:spPr>
          <a:xfrm>
            <a:off x="4914896" y="1804985"/>
            <a:ext cx="76200" cy="62975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6" name="Circle: Hollow 65">
            <a:extLst>
              <a:ext uri="{FF2B5EF4-FFF2-40B4-BE49-F238E27FC236}">
                <a16:creationId xmlns:a16="http://schemas.microsoft.com/office/drawing/2014/main" id="{74BB4D75-B446-D13F-13D1-30257CDE39C1}"/>
              </a:ext>
            </a:extLst>
          </p:cNvPr>
          <p:cNvSpPr/>
          <p:nvPr/>
        </p:nvSpPr>
        <p:spPr>
          <a:xfrm>
            <a:off x="4999056" y="5227656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7" name="Circle: Hollow 66">
            <a:extLst>
              <a:ext uri="{FF2B5EF4-FFF2-40B4-BE49-F238E27FC236}">
                <a16:creationId xmlns:a16="http://schemas.microsoft.com/office/drawing/2014/main" id="{DE6D211B-735D-571A-22B7-B42E78F9BEF2}"/>
              </a:ext>
            </a:extLst>
          </p:cNvPr>
          <p:cNvSpPr/>
          <p:nvPr/>
        </p:nvSpPr>
        <p:spPr>
          <a:xfrm>
            <a:off x="4533896" y="2886074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8" name="Circle: Hollow 67">
            <a:extLst>
              <a:ext uri="{FF2B5EF4-FFF2-40B4-BE49-F238E27FC236}">
                <a16:creationId xmlns:a16="http://schemas.microsoft.com/office/drawing/2014/main" id="{98C1705B-1FD6-C726-F797-E043FB2C65F5}"/>
              </a:ext>
            </a:extLst>
          </p:cNvPr>
          <p:cNvSpPr/>
          <p:nvPr/>
        </p:nvSpPr>
        <p:spPr>
          <a:xfrm>
            <a:off x="6781800" y="3844328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0" name="Circle: Hollow 69">
            <a:extLst>
              <a:ext uri="{FF2B5EF4-FFF2-40B4-BE49-F238E27FC236}">
                <a16:creationId xmlns:a16="http://schemas.microsoft.com/office/drawing/2014/main" id="{92AFF069-45D4-2597-E8D7-1B6CB13F97B3}"/>
              </a:ext>
            </a:extLst>
          </p:cNvPr>
          <p:cNvSpPr/>
          <p:nvPr/>
        </p:nvSpPr>
        <p:spPr>
          <a:xfrm>
            <a:off x="7350368" y="2885552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3" name="Circle: Hollow 72">
            <a:extLst>
              <a:ext uri="{FF2B5EF4-FFF2-40B4-BE49-F238E27FC236}">
                <a16:creationId xmlns:a16="http://schemas.microsoft.com/office/drawing/2014/main" id="{D3A8B715-A1AA-4220-3820-BFE2335372A5}"/>
              </a:ext>
            </a:extLst>
          </p:cNvPr>
          <p:cNvSpPr/>
          <p:nvPr/>
        </p:nvSpPr>
        <p:spPr>
          <a:xfrm>
            <a:off x="4556928" y="3856056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4" name="Circle: Hollow 73">
            <a:extLst>
              <a:ext uri="{FF2B5EF4-FFF2-40B4-BE49-F238E27FC236}">
                <a16:creationId xmlns:a16="http://schemas.microsoft.com/office/drawing/2014/main" id="{BA06BAC7-0E04-2159-8359-AE4354A914D8}"/>
              </a:ext>
            </a:extLst>
          </p:cNvPr>
          <p:cNvSpPr/>
          <p:nvPr/>
        </p:nvSpPr>
        <p:spPr>
          <a:xfrm>
            <a:off x="4318280" y="5206720"/>
            <a:ext cx="76200" cy="76200"/>
          </a:xfrm>
          <a:prstGeom prst="donut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Circle: Hollow 74">
            <a:extLst>
              <a:ext uri="{FF2B5EF4-FFF2-40B4-BE49-F238E27FC236}">
                <a16:creationId xmlns:a16="http://schemas.microsoft.com/office/drawing/2014/main" id="{54367912-A56C-8F90-7E17-FB999EF82A21}"/>
              </a:ext>
            </a:extLst>
          </p:cNvPr>
          <p:cNvSpPr/>
          <p:nvPr/>
        </p:nvSpPr>
        <p:spPr>
          <a:xfrm>
            <a:off x="4307392" y="4643176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6" name="Circle: Hollow 75">
            <a:extLst>
              <a:ext uri="{FF2B5EF4-FFF2-40B4-BE49-F238E27FC236}">
                <a16:creationId xmlns:a16="http://schemas.microsoft.com/office/drawing/2014/main" id="{CA67DFA3-1E82-CA3A-8281-BF2CEB93CB9B}"/>
              </a:ext>
            </a:extLst>
          </p:cNvPr>
          <p:cNvSpPr/>
          <p:nvPr/>
        </p:nvSpPr>
        <p:spPr>
          <a:xfrm>
            <a:off x="4296504" y="4079632"/>
            <a:ext cx="76200" cy="76200"/>
          </a:xfrm>
          <a:prstGeom prst="donut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Circle: Hollow 76">
            <a:extLst>
              <a:ext uri="{FF2B5EF4-FFF2-40B4-BE49-F238E27FC236}">
                <a16:creationId xmlns:a16="http://schemas.microsoft.com/office/drawing/2014/main" id="{6899CBC1-EE58-A0D7-3266-3E7E20B0A693}"/>
              </a:ext>
            </a:extLst>
          </p:cNvPr>
          <p:cNvSpPr/>
          <p:nvPr/>
        </p:nvSpPr>
        <p:spPr>
          <a:xfrm>
            <a:off x="4285616" y="3516088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Circle: Hollow 78">
            <a:extLst>
              <a:ext uri="{FF2B5EF4-FFF2-40B4-BE49-F238E27FC236}">
                <a16:creationId xmlns:a16="http://schemas.microsoft.com/office/drawing/2014/main" id="{F604233A-E5C6-01D1-E687-39958D482EA5}"/>
              </a:ext>
            </a:extLst>
          </p:cNvPr>
          <p:cNvSpPr/>
          <p:nvPr/>
        </p:nvSpPr>
        <p:spPr>
          <a:xfrm>
            <a:off x="7137400" y="3822700"/>
            <a:ext cx="76200" cy="76200"/>
          </a:xfrm>
          <a:prstGeom prst="donut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0" name="Circle: Hollow 79">
            <a:extLst>
              <a:ext uri="{FF2B5EF4-FFF2-40B4-BE49-F238E27FC236}">
                <a16:creationId xmlns:a16="http://schemas.microsoft.com/office/drawing/2014/main" id="{8C908061-A855-AD7D-ADEC-B8D1B904FCF6}"/>
              </a:ext>
            </a:extLst>
          </p:cNvPr>
          <p:cNvSpPr/>
          <p:nvPr/>
        </p:nvSpPr>
        <p:spPr>
          <a:xfrm>
            <a:off x="7118350" y="33528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1" name="Circle: Hollow 80">
            <a:extLst>
              <a:ext uri="{FF2B5EF4-FFF2-40B4-BE49-F238E27FC236}">
                <a16:creationId xmlns:a16="http://schemas.microsoft.com/office/drawing/2014/main" id="{C22DD98C-7D04-C4A2-102A-BDD48CFE3184}"/>
              </a:ext>
            </a:extLst>
          </p:cNvPr>
          <p:cNvSpPr/>
          <p:nvPr/>
        </p:nvSpPr>
        <p:spPr>
          <a:xfrm>
            <a:off x="7353300" y="3581400"/>
            <a:ext cx="76200" cy="76200"/>
          </a:xfrm>
          <a:prstGeom prst="donut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2" name="Circle: Hollow 81">
            <a:extLst>
              <a:ext uri="{FF2B5EF4-FFF2-40B4-BE49-F238E27FC236}">
                <a16:creationId xmlns:a16="http://schemas.microsoft.com/office/drawing/2014/main" id="{1C67A0D7-5957-B3C9-95FC-758AC0C915B5}"/>
              </a:ext>
            </a:extLst>
          </p:cNvPr>
          <p:cNvSpPr/>
          <p:nvPr/>
        </p:nvSpPr>
        <p:spPr>
          <a:xfrm>
            <a:off x="7362822" y="4295778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3" name="Circle: Hollow 82">
            <a:extLst>
              <a:ext uri="{FF2B5EF4-FFF2-40B4-BE49-F238E27FC236}">
                <a16:creationId xmlns:a16="http://schemas.microsoft.com/office/drawing/2014/main" id="{5BA87E2E-22D5-A503-DB0A-33F81E05921B}"/>
              </a:ext>
            </a:extLst>
          </p:cNvPr>
          <p:cNvSpPr/>
          <p:nvPr/>
        </p:nvSpPr>
        <p:spPr>
          <a:xfrm>
            <a:off x="7353292" y="5010156"/>
            <a:ext cx="76200" cy="76200"/>
          </a:xfrm>
          <a:prstGeom prst="donut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Circle: Hollow 83">
            <a:extLst>
              <a:ext uri="{FF2B5EF4-FFF2-40B4-BE49-F238E27FC236}">
                <a16:creationId xmlns:a16="http://schemas.microsoft.com/office/drawing/2014/main" id="{576A1F22-1CA6-49C3-109F-FDEE2C0ED267}"/>
              </a:ext>
            </a:extLst>
          </p:cNvPr>
          <p:cNvSpPr/>
          <p:nvPr/>
        </p:nvSpPr>
        <p:spPr>
          <a:xfrm>
            <a:off x="7391400" y="55626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7D5548B-D359-C18A-D741-D9D2DE3C50B7}"/>
              </a:ext>
            </a:extLst>
          </p:cNvPr>
          <p:cNvCxnSpPr/>
          <p:nvPr/>
        </p:nvCxnSpPr>
        <p:spPr>
          <a:xfrm flipV="1">
            <a:off x="4267200" y="1676400"/>
            <a:ext cx="3200400" cy="1066800"/>
          </a:xfrm>
          <a:prstGeom prst="line">
            <a:avLst/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EFD52F0-28DA-D89A-88DF-37C6A14CDEC1}"/>
              </a:ext>
            </a:extLst>
          </p:cNvPr>
          <p:cNvCxnSpPr>
            <a:cxnSpLocks/>
          </p:cNvCxnSpPr>
          <p:nvPr/>
        </p:nvCxnSpPr>
        <p:spPr>
          <a:xfrm flipH="1" flipV="1">
            <a:off x="4267200" y="1752600"/>
            <a:ext cx="3200400" cy="990600"/>
          </a:xfrm>
          <a:prstGeom prst="line">
            <a:avLst/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0" name="Circle: Hollow 39">
            <a:extLst>
              <a:ext uri="{FF2B5EF4-FFF2-40B4-BE49-F238E27FC236}">
                <a16:creationId xmlns:a16="http://schemas.microsoft.com/office/drawing/2014/main" id="{39030BD9-085E-EA74-28B6-B79621593B9F}"/>
              </a:ext>
            </a:extLst>
          </p:cNvPr>
          <p:cNvSpPr/>
          <p:nvPr/>
        </p:nvSpPr>
        <p:spPr>
          <a:xfrm>
            <a:off x="4222750" y="17526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1" name="Circle: Hollow 40">
            <a:extLst>
              <a:ext uri="{FF2B5EF4-FFF2-40B4-BE49-F238E27FC236}">
                <a16:creationId xmlns:a16="http://schemas.microsoft.com/office/drawing/2014/main" id="{C8664FB6-2254-3CBB-C8DA-6A89FF8ED9C4}"/>
              </a:ext>
            </a:extLst>
          </p:cNvPr>
          <p:cNvSpPr/>
          <p:nvPr/>
        </p:nvSpPr>
        <p:spPr>
          <a:xfrm>
            <a:off x="4229100" y="22479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2" name="Circle: Hollow 41">
            <a:extLst>
              <a:ext uri="{FF2B5EF4-FFF2-40B4-BE49-F238E27FC236}">
                <a16:creationId xmlns:a16="http://schemas.microsoft.com/office/drawing/2014/main" id="{DB6CA745-B0A5-E7E2-15D2-E5FE8AD6098E}"/>
              </a:ext>
            </a:extLst>
          </p:cNvPr>
          <p:cNvSpPr/>
          <p:nvPr/>
        </p:nvSpPr>
        <p:spPr>
          <a:xfrm>
            <a:off x="4248150" y="27178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3" name="Circle: Hollow 42">
            <a:extLst>
              <a:ext uri="{FF2B5EF4-FFF2-40B4-BE49-F238E27FC236}">
                <a16:creationId xmlns:a16="http://schemas.microsoft.com/office/drawing/2014/main" id="{E6C78995-D4B9-6635-827C-39BD600D78B0}"/>
              </a:ext>
            </a:extLst>
          </p:cNvPr>
          <p:cNvSpPr/>
          <p:nvPr/>
        </p:nvSpPr>
        <p:spPr>
          <a:xfrm>
            <a:off x="4648200" y="25781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4" name="Circle: Hollow 43">
            <a:extLst>
              <a:ext uri="{FF2B5EF4-FFF2-40B4-BE49-F238E27FC236}">
                <a16:creationId xmlns:a16="http://schemas.microsoft.com/office/drawing/2014/main" id="{B45614B4-A1F8-C3FB-6B1C-A27385CB5D21}"/>
              </a:ext>
            </a:extLst>
          </p:cNvPr>
          <p:cNvSpPr/>
          <p:nvPr/>
        </p:nvSpPr>
        <p:spPr>
          <a:xfrm>
            <a:off x="5029200" y="24384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5" name="Circle: Hollow 44">
            <a:extLst>
              <a:ext uri="{FF2B5EF4-FFF2-40B4-BE49-F238E27FC236}">
                <a16:creationId xmlns:a16="http://schemas.microsoft.com/office/drawing/2014/main" id="{1CEB6FE1-CDC4-C1B5-BFB9-C445A01A53F7}"/>
              </a:ext>
            </a:extLst>
          </p:cNvPr>
          <p:cNvSpPr/>
          <p:nvPr/>
        </p:nvSpPr>
        <p:spPr>
          <a:xfrm>
            <a:off x="5410200" y="22860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6" name="Circle: Hollow 45">
            <a:extLst>
              <a:ext uri="{FF2B5EF4-FFF2-40B4-BE49-F238E27FC236}">
                <a16:creationId xmlns:a16="http://schemas.microsoft.com/office/drawing/2014/main" id="{EDE26688-9EB4-BDEF-75B4-5E751E256723}"/>
              </a:ext>
            </a:extLst>
          </p:cNvPr>
          <p:cNvSpPr/>
          <p:nvPr/>
        </p:nvSpPr>
        <p:spPr>
          <a:xfrm>
            <a:off x="5791200" y="21336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7" name="Circle: Hollow 46">
            <a:extLst>
              <a:ext uri="{FF2B5EF4-FFF2-40B4-BE49-F238E27FC236}">
                <a16:creationId xmlns:a16="http://schemas.microsoft.com/office/drawing/2014/main" id="{49541832-35D9-B8D5-3C70-7C671D79D263}"/>
              </a:ext>
            </a:extLst>
          </p:cNvPr>
          <p:cNvSpPr/>
          <p:nvPr/>
        </p:nvSpPr>
        <p:spPr>
          <a:xfrm>
            <a:off x="6172200" y="20574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8" name="Circle: Hollow 47">
            <a:extLst>
              <a:ext uri="{FF2B5EF4-FFF2-40B4-BE49-F238E27FC236}">
                <a16:creationId xmlns:a16="http://schemas.microsoft.com/office/drawing/2014/main" id="{57741CE1-B9CE-D66B-EAB0-30B0A5D637B2}"/>
              </a:ext>
            </a:extLst>
          </p:cNvPr>
          <p:cNvSpPr/>
          <p:nvPr/>
        </p:nvSpPr>
        <p:spPr>
          <a:xfrm>
            <a:off x="6553200" y="19050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9" name="Circle: Hollow 48">
            <a:extLst>
              <a:ext uri="{FF2B5EF4-FFF2-40B4-BE49-F238E27FC236}">
                <a16:creationId xmlns:a16="http://schemas.microsoft.com/office/drawing/2014/main" id="{EB9C8CEF-7281-682B-7381-A1C118198405}"/>
              </a:ext>
            </a:extLst>
          </p:cNvPr>
          <p:cNvSpPr/>
          <p:nvPr/>
        </p:nvSpPr>
        <p:spPr>
          <a:xfrm>
            <a:off x="7010400" y="17526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7" name="Circle: Hollow 56">
            <a:extLst>
              <a:ext uri="{FF2B5EF4-FFF2-40B4-BE49-F238E27FC236}">
                <a16:creationId xmlns:a16="http://schemas.microsoft.com/office/drawing/2014/main" id="{8CA5C65A-B62B-6A8A-08BA-D88EB8DE05CF}"/>
              </a:ext>
            </a:extLst>
          </p:cNvPr>
          <p:cNvSpPr/>
          <p:nvPr/>
        </p:nvSpPr>
        <p:spPr>
          <a:xfrm>
            <a:off x="7423150" y="167005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9" name="Circle: Hollow 58">
            <a:extLst>
              <a:ext uri="{FF2B5EF4-FFF2-40B4-BE49-F238E27FC236}">
                <a16:creationId xmlns:a16="http://schemas.microsoft.com/office/drawing/2014/main" id="{B5B61B38-3E7B-F652-1D13-DA174C70248B}"/>
              </a:ext>
            </a:extLst>
          </p:cNvPr>
          <p:cNvSpPr/>
          <p:nvPr/>
        </p:nvSpPr>
        <p:spPr>
          <a:xfrm>
            <a:off x="7435850" y="20828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2" name="Circle: Hollow 71">
            <a:extLst>
              <a:ext uri="{FF2B5EF4-FFF2-40B4-BE49-F238E27FC236}">
                <a16:creationId xmlns:a16="http://schemas.microsoft.com/office/drawing/2014/main" id="{A9E5B523-F65B-7971-1CAD-455B2FD21AA0}"/>
              </a:ext>
            </a:extLst>
          </p:cNvPr>
          <p:cNvSpPr/>
          <p:nvPr/>
        </p:nvSpPr>
        <p:spPr>
          <a:xfrm>
            <a:off x="7404100" y="271145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Circle: Hollow 77">
            <a:extLst>
              <a:ext uri="{FF2B5EF4-FFF2-40B4-BE49-F238E27FC236}">
                <a16:creationId xmlns:a16="http://schemas.microsoft.com/office/drawing/2014/main" id="{139A56FC-A71C-40AA-AB6F-3711DE27AB22}"/>
              </a:ext>
            </a:extLst>
          </p:cNvPr>
          <p:cNvSpPr/>
          <p:nvPr/>
        </p:nvSpPr>
        <p:spPr>
          <a:xfrm>
            <a:off x="6927850" y="25654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Circle: Hollow 84">
            <a:extLst>
              <a:ext uri="{FF2B5EF4-FFF2-40B4-BE49-F238E27FC236}">
                <a16:creationId xmlns:a16="http://schemas.microsoft.com/office/drawing/2014/main" id="{42FF94D2-0C86-2243-BB79-FEC848D16808}"/>
              </a:ext>
            </a:extLst>
          </p:cNvPr>
          <p:cNvSpPr/>
          <p:nvPr/>
        </p:nvSpPr>
        <p:spPr>
          <a:xfrm>
            <a:off x="6451600" y="241935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6" name="Circle: Hollow 85">
            <a:extLst>
              <a:ext uri="{FF2B5EF4-FFF2-40B4-BE49-F238E27FC236}">
                <a16:creationId xmlns:a16="http://schemas.microsoft.com/office/drawing/2014/main" id="{F3571C67-BA97-CF38-9AA5-B1FD9D4C9055}"/>
              </a:ext>
            </a:extLst>
          </p:cNvPr>
          <p:cNvSpPr/>
          <p:nvPr/>
        </p:nvSpPr>
        <p:spPr>
          <a:xfrm>
            <a:off x="5975350" y="22733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7" name="Circle: Hollow 86">
            <a:extLst>
              <a:ext uri="{FF2B5EF4-FFF2-40B4-BE49-F238E27FC236}">
                <a16:creationId xmlns:a16="http://schemas.microsoft.com/office/drawing/2014/main" id="{EFAE5A53-1B54-C41E-F8DF-BB77CAAB6C05}"/>
              </a:ext>
            </a:extLst>
          </p:cNvPr>
          <p:cNvSpPr/>
          <p:nvPr/>
        </p:nvSpPr>
        <p:spPr>
          <a:xfrm>
            <a:off x="5499100" y="212725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8" name="Circle: Hollow 87">
            <a:extLst>
              <a:ext uri="{FF2B5EF4-FFF2-40B4-BE49-F238E27FC236}">
                <a16:creationId xmlns:a16="http://schemas.microsoft.com/office/drawing/2014/main" id="{D353B352-AF74-7B76-AC18-AF95EBBABC54}"/>
              </a:ext>
            </a:extLst>
          </p:cNvPr>
          <p:cNvSpPr/>
          <p:nvPr/>
        </p:nvSpPr>
        <p:spPr>
          <a:xfrm>
            <a:off x="5022850" y="19812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9" name="Circle: Hollow 88">
            <a:extLst>
              <a:ext uri="{FF2B5EF4-FFF2-40B4-BE49-F238E27FC236}">
                <a16:creationId xmlns:a16="http://schemas.microsoft.com/office/drawing/2014/main" id="{BAF3852E-AE71-ABEF-0DCA-ED00A37E379D}"/>
              </a:ext>
            </a:extLst>
          </p:cNvPr>
          <p:cNvSpPr/>
          <p:nvPr/>
        </p:nvSpPr>
        <p:spPr>
          <a:xfrm>
            <a:off x="4546600" y="183515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A279B5B-C130-ECBE-42CA-47B042081B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524000"/>
            <a:ext cx="1219200" cy="24765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0CF7267-E426-9453-66A7-020C1B22B7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0400" y="1524000"/>
            <a:ext cx="1219200" cy="24765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98DD6DD6-49CA-D448-AFB9-AFA05E20D1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91400" y="1524000"/>
            <a:ext cx="1219200" cy="24765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75A87913-6FB1-0070-8AD0-83D976641E17}"/>
              </a:ext>
            </a:extLst>
          </p:cNvPr>
          <p:cNvSpPr txBox="1"/>
          <p:nvPr/>
        </p:nvSpPr>
        <p:spPr>
          <a:xfrm>
            <a:off x="2935848" y="1295400"/>
            <a:ext cx="1255152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N9K – Leaf 3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A0D9EDC-6FA0-1CF9-79E2-CAF75641169C}"/>
              </a:ext>
            </a:extLst>
          </p:cNvPr>
          <p:cNvSpPr txBox="1"/>
          <p:nvPr/>
        </p:nvSpPr>
        <p:spPr>
          <a:xfrm>
            <a:off x="7543800" y="1219200"/>
            <a:ext cx="1255152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N9K – Leaf 4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812B4A7-1E0E-9C21-4AD0-E01900631848}"/>
              </a:ext>
            </a:extLst>
          </p:cNvPr>
          <p:cNvSpPr txBox="1"/>
          <p:nvPr/>
        </p:nvSpPr>
        <p:spPr>
          <a:xfrm>
            <a:off x="5715000" y="3352800"/>
            <a:ext cx="466474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CH1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4DE8620-4224-8420-1DD6-0B8A897C0694}"/>
              </a:ext>
            </a:extLst>
          </p:cNvPr>
          <p:cNvSpPr txBox="1"/>
          <p:nvPr/>
        </p:nvSpPr>
        <p:spPr>
          <a:xfrm>
            <a:off x="5715000" y="5943600"/>
            <a:ext cx="580287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CH16 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3FBD550-0770-8BC6-51F0-91E24535D9CB}"/>
              </a:ext>
            </a:extLst>
          </p:cNvPr>
          <p:cNvSpPr txBox="1"/>
          <p:nvPr/>
        </p:nvSpPr>
        <p:spPr>
          <a:xfrm>
            <a:off x="7491704" y="4038600"/>
            <a:ext cx="1118896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Server port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36FA7861-F14A-346F-25A5-09CAE3E63CFF}"/>
              </a:ext>
            </a:extLst>
          </p:cNvPr>
          <p:cNvSpPr txBox="1"/>
          <p:nvPr/>
        </p:nvSpPr>
        <p:spPr>
          <a:xfrm>
            <a:off x="3048000" y="4038600"/>
            <a:ext cx="1118896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Server port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713EDEB9-98FB-4BE7-5FDC-4A4D64CD764A}"/>
              </a:ext>
            </a:extLst>
          </p:cNvPr>
          <p:cNvSpPr txBox="1"/>
          <p:nvPr/>
        </p:nvSpPr>
        <p:spPr>
          <a:xfrm>
            <a:off x="3810000" y="2590800"/>
            <a:ext cx="1143000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PO 11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2D2DF2DC-3BA0-95CA-7F09-CEFBEE9CC77D}"/>
              </a:ext>
            </a:extLst>
          </p:cNvPr>
          <p:cNvSpPr txBox="1"/>
          <p:nvPr/>
        </p:nvSpPr>
        <p:spPr>
          <a:xfrm>
            <a:off x="7620000" y="2514600"/>
            <a:ext cx="1143000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PO 21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DC328160-1B6A-D78F-8031-B0C0D1D47B47}"/>
              </a:ext>
            </a:extLst>
          </p:cNvPr>
          <p:cNvSpPr txBox="1"/>
          <p:nvPr/>
        </p:nvSpPr>
        <p:spPr>
          <a:xfrm>
            <a:off x="3200400" y="2737890"/>
            <a:ext cx="387927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FI-A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2AFBFF28-B3E9-FC66-C2E2-DF55295C7922}"/>
              </a:ext>
            </a:extLst>
          </p:cNvPr>
          <p:cNvSpPr txBox="1"/>
          <p:nvPr/>
        </p:nvSpPr>
        <p:spPr>
          <a:xfrm>
            <a:off x="8153400" y="2743200"/>
            <a:ext cx="387927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FI-B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6E231328-B502-3D67-3864-F0A0BB32C04B}"/>
              </a:ext>
            </a:extLst>
          </p:cNvPr>
          <p:cNvSpPr txBox="1"/>
          <p:nvPr/>
        </p:nvSpPr>
        <p:spPr>
          <a:xfrm>
            <a:off x="4495800" y="1295400"/>
            <a:ext cx="1255152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N9K – Leaf 1 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E859E142-EB65-6CA7-DD1E-292D8E3912DF}"/>
              </a:ext>
            </a:extLst>
          </p:cNvPr>
          <p:cNvSpPr txBox="1"/>
          <p:nvPr/>
        </p:nvSpPr>
        <p:spPr>
          <a:xfrm>
            <a:off x="6096000" y="1295400"/>
            <a:ext cx="1255152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N9K – Leaf 2 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C548298E-4ACC-FD1D-4646-31FBC63CDB30}"/>
              </a:ext>
            </a:extLst>
          </p:cNvPr>
          <p:cNvSpPr txBox="1"/>
          <p:nvPr/>
        </p:nvSpPr>
        <p:spPr>
          <a:xfrm>
            <a:off x="6019800" y="2514600"/>
            <a:ext cx="1143000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PO 20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9152CAA0-C63E-A18A-41ED-F21C2A3150D7}"/>
              </a:ext>
            </a:extLst>
          </p:cNvPr>
          <p:cNvSpPr txBox="1"/>
          <p:nvPr/>
        </p:nvSpPr>
        <p:spPr>
          <a:xfrm>
            <a:off x="5410200" y="2514600"/>
            <a:ext cx="1143000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PO 10</a:t>
            </a: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71769AE5-AD4B-34DB-8849-0BF0BC08659E}"/>
              </a:ext>
            </a:extLst>
          </p:cNvPr>
          <p:cNvSpPr/>
          <p:nvPr/>
        </p:nvSpPr>
        <p:spPr>
          <a:xfrm rot="1937758">
            <a:off x="4498266" y="2402957"/>
            <a:ext cx="952810" cy="122870"/>
          </a:xfrm>
          <a:prstGeom prst="ellipse">
            <a:avLst/>
          </a:prstGeom>
          <a:noFill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3C960D53-711D-F20B-252E-8707814B00AA}"/>
              </a:ext>
            </a:extLst>
          </p:cNvPr>
          <p:cNvSpPr/>
          <p:nvPr/>
        </p:nvSpPr>
        <p:spPr>
          <a:xfrm rot="19951173">
            <a:off x="6308596" y="2427656"/>
            <a:ext cx="946410" cy="162043"/>
          </a:xfrm>
          <a:prstGeom prst="ellipse">
            <a:avLst/>
          </a:prstGeom>
          <a:noFill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96CFF2BF-2258-055C-A065-186A45C13FCE}"/>
              </a:ext>
            </a:extLst>
          </p:cNvPr>
          <p:cNvSpPr/>
          <p:nvPr/>
        </p:nvSpPr>
        <p:spPr>
          <a:xfrm rot="1937758">
            <a:off x="4203213" y="2606038"/>
            <a:ext cx="379787" cy="129553"/>
          </a:xfrm>
          <a:prstGeom prst="ellipse">
            <a:avLst/>
          </a:prstGeom>
          <a:noFill/>
          <a:ln w="19050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B4D944CF-F87D-0D7B-65B2-277BDB2E1E86}"/>
              </a:ext>
            </a:extLst>
          </p:cNvPr>
          <p:cNvSpPr/>
          <p:nvPr/>
        </p:nvSpPr>
        <p:spPr>
          <a:xfrm rot="19951173">
            <a:off x="7173746" y="2546039"/>
            <a:ext cx="435310" cy="153877"/>
          </a:xfrm>
          <a:prstGeom prst="ellipse">
            <a:avLst/>
          </a:prstGeom>
          <a:noFill/>
          <a:ln w="19050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Circle: Hollow 110">
            <a:extLst>
              <a:ext uri="{FF2B5EF4-FFF2-40B4-BE49-F238E27FC236}">
                <a16:creationId xmlns:a16="http://schemas.microsoft.com/office/drawing/2014/main" id="{84C1A0D3-75D1-B298-C004-8B89784ADEFD}"/>
              </a:ext>
            </a:extLst>
          </p:cNvPr>
          <p:cNvSpPr/>
          <p:nvPr/>
        </p:nvSpPr>
        <p:spPr>
          <a:xfrm>
            <a:off x="4535608" y="33528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869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2.22222E-6 L 5E-6 0.10278 " pathEditMode="relative" rAng="0" ptsTypes="AA">
                                      <p:cBhvr>
                                        <p:cTn id="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42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2.22222E-6 L 3.75E-6 0.05833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91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69 L 0.0306 -0.02477 " pathEditMode="relative" ptsTypes="AA">
                                      <p:cBhvr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3 0.00023 L 0.03086 -0.02384 " pathEditMode="relative" rAng="0" ptsTypes="AA">
                                      <p:cBhvr>
                                        <p:cTn id="1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39 -0.00162 L 0.03034 -0.02569 " pathEditMode="relative" rAng="0" ptsTypes="AA">
                                      <p:cBhvr>
                                        <p:cTn id="1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39 -0.00162 L 0.03033 -0.0257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4 -0.00162 L 0.03034 -0.0257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1177E-17 3.7037E-7 L 0.03073 -0.02407 " pathEditMode="relative" rAng="0" ptsTypes="AA">
                                      <p:cBhvr>
                                        <p:cTn id="2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0 L 0.01719 -0.01343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-67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42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1.11111E-6 L 5E-6 0.05 " pathEditMode="relative" rAng="0" ptsTypes="AA">
                                      <p:cBhvr>
                                        <p:cTn id="3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42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1.11111E-6 L 3.75E-6 0.04722 " pathEditMode="relative" rAng="0" ptsTypes="AA">
                                      <p:cBhvr>
                                        <p:cTn id="3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3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500"/>
                            </p:stCondLst>
                            <p:childTnLst>
                              <p:par>
                                <p:cTn id="38" presetID="42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1.11111E-6 L -4.16667E-6 0.06389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0"/>
                            </p:stCondLst>
                            <p:childTnLst>
                              <p:par>
                                <p:cTn id="41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39 -0.00486 L -0.03594 -0.03264 " pathEditMode="relative" ptsTypes="AA">
                                      <p:cBhvr>
                                        <p:cTn id="4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500"/>
                            </p:stCondLst>
                            <p:childTnLst>
                              <p:par>
                                <p:cTn id="44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-3.33333E-6 L -0.03554 -0.02777 " pathEditMode="relative" rAng="0" ptsTypes="AA">
                                      <p:cBhvr>
                                        <p:cTn id="4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7000"/>
                            </p:stCondLst>
                            <p:childTnLst>
                              <p:par>
                                <p:cTn id="47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0 L -0.03554 -0.02778 " pathEditMode="relative" rAng="0" ptsTypes="AA">
                                      <p:cBhvr>
                                        <p:cTn id="4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7500"/>
                            </p:stCondLst>
                            <p:childTnLst>
                              <p:par>
                                <p:cTn id="50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33333E-6 L -0.03554 -0.02778 " pathEditMode="relative" rAng="0" ptsTypes="AA">
                                      <p:cBhvr>
                                        <p:cTn id="51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8000"/>
                            </p:stCondLst>
                            <p:childTnLst>
                              <p:par>
                                <p:cTn id="53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7 L -0.03554 -0.02778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8500"/>
                            </p:stCondLst>
                            <p:childTnLst>
                              <p:par>
                                <p:cTn id="56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07407E-6 L -0.02187 -0.01574 " pathEditMode="relative" rAng="0" ptsTypes="AA">
                                      <p:cBhvr>
                                        <p:cTn id="5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94" y="-78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2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112E-17 1.11111E-6 L 5.55112E-17 0.0625 " pathEditMode="relative" rAng="0" ptsTypes="AA">
                                      <p:cBhvr>
                                        <p:cTn id="6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25"/>
                                    </p:animMotion>
                                  </p:childTnLst>
                                </p:cTn>
                              </p:par>
                              <p:par>
                                <p:cTn id="62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-4.44444E-6 L 0.00182 0.07338 " pathEditMode="relative" rAng="0" ptsTypes="AA">
                                      <p:cBhvr>
                                        <p:cTn id="63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3611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63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-4.07407E-6 L 0.03555 -0.00115 " pathEditMode="relative" rAng="0" ptsTypes="AA">
                                      <p:cBhvr>
                                        <p:cTn id="6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71" y="-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35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-4.07407E-6 L -0.0569 -0.00115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52" y="-69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4.81481E-6 L -0.00104 -0.08703 " pathEditMode="relative" rAng="0" ptsTypes="AA">
                                      <p:cBhvr>
                                        <p:cTn id="7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4352"/>
                                    </p:animMotion>
                                  </p:childTnLst>
                                </p:cTn>
                              </p:par>
                              <p:par>
                                <p:cTn id="72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1.11111E-6 L -0.00104 -0.08704 " pathEditMode="relative" rAng="0" ptsTypes="AA">
                                      <p:cBhvr>
                                        <p:cTn id="7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4352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1.11111E-6 L -0.00104 -0.08704 " pathEditMode="relative" rAng="0" ptsTypes="AA">
                                      <p:cBhvr>
                                        <p:cTn id="75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4352"/>
                                    </p:animMotion>
                                  </p:childTnLst>
                                </p:cTn>
                              </p:par>
                              <p:par>
                                <p:cTn id="76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2.96296E-6 L 0.00156 -0.09607 " pathEditMode="relative" rAng="0" ptsTypes="AA">
                                      <p:cBhvr>
                                        <p:cTn id="7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" y="-48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63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3.7037E-6 L 0.02813 0.00047 " pathEditMode="relative" rAng="0" ptsTypes="AA">
                                      <p:cBhvr>
                                        <p:cTn id="8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06" y="23"/>
                                    </p:animMotion>
                                  </p:childTnLst>
                                </p:cTn>
                              </p:par>
                              <p:par>
                                <p:cTn id="82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2.96296E-6 L -0.00104 -0.06296 " pathEditMode="relative" rAng="0" ptsTypes="AA">
                                      <p:cBhvr>
                                        <p:cTn id="83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3148"/>
                                    </p:animMotion>
                                  </p:childTnLst>
                                </p:cTn>
                              </p:par>
                              <p:par>
                                <p:cTn id="84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44444E-6 L -0.00221 -0.09097 " pathEditMode="relative" rAng="0" ptsTypes="AA">
                                      <p:cBhvr>
                                        <p:cTn id="85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3611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7 1.11111E-6 L 0.00026 0.10694 " pathEditMode="relative" rAng="0" ptsTypes="AA">
                                      <p:cBhvr>
                                        <p:cTn id="87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534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42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2.22222E-6 L 0.00026 0.10694 " pathEditMode="relative" rAng="0" ptsTypes="AA">
                                      <p:cBhvr>
                                        <p:cTn id="91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5347"/>
                                    </p:animMotion>
                                  </p:childTnLst>
                                </p:cTn>
                              </p:par>
                              <p:par>
                                <p:cTn id="92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4.44444E-6 L 0.00026 0.10695 " pathEditMode="relative" rAng="0" ptsTypes="AA">
                                      <p:cBhvr>
                                        <p:cTn id="93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5347"/>
                                    </p:animMotion>
                                  </p:childTnLst>
                                </p:cTn>
                              </p:par>
                              <p:par>
                                <p:cTn id="94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-1.11111E-6 L 1.11022E-16 0.03056 " pathEditMode="relative" rAng="0" ptsTypes="AA">
                                      <p:cBhvr>
                                        <p:cTn id="95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28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35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0.05556 L -0.05937 -0.05 " pathEditMode="relative" rAng="0" ptsTypes="AA">
                                      <p:cBhvr>
                                        <p:cTn id="97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969" y="2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42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1.11111E-6 L 0.00052 0.07222 " pathEditMode="relative" rAng="0" ptsTypes="AA">
                                      <p:cBhvr>
                                        <p:cTn id="10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3611"/>
                                    </p:animMotion>
                                  </p:childTnLst>
                                </p:cTn>
                              </p:par>
                              <p:par>
                                <p:cTn id="102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112E-17 -3.33333E-6 L 0.00052 0.07223 " pathEditMode="relative" rAng="0" ptsTypes="AA">
                                      <p:cBhvr>
                                        <p:cTn id="10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3611"/>
                                    </p:animMotion>
                                  </p:childTnLst>
                                </p:cTn>
                              </p:par>
                              <p:par>
                                <p:cTn id="104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69 L 0.0306 -0.02477 " pathEditMode="relative" rAng="0" ptsTypes="AA">
                                      <p:cBhvr>
                                        <p:cTn id="10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69 L 0.0306 -0.02477 " pathEditMode="relative" rAng="0" ptsTypes="AA">
                                      <p:cBhvr>
                                        <p:cTn id="10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  <p:par>
                                <p:cTn id="108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69 L 0.0306 -0.02477 " pathEditMode="relative" rAng="0" ptsTypes="AA">
                                      <p:cBhvr>
                                        <p:cTn id="10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  <p:par>
                                <p:cTn id="110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7 L 0.0306 -0.02477 " pathEditMode="relative" rAng="0" ptsTypes="AA">
                                      <p:cBhvr>
                                        <p:cTn id="1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  <p:par>
                                <p:cTn id="112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7 L 0.03086 -0.01273 " pathEditMode="relative" rAng="0" ptsTypes="AA">
                                      <p:cBhvr>
                                        <p:cTn id="11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19" y="-810"/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7 L 0.03086 -0.01274 " pathEditMode="relative" rAng="0" ptsTypes="AA">
                                      <p:cBhvr>
                                        <p:cTn id="11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49" y="-602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69 L 0.03086 -0.01273 " pathEditMode="relative" rAng="0" ptsTypes="AA">
                                      <p:cBhvr>
                                        <p:cTn id="11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49" y="-602"/>
                                    </p:animMotion>
                                  </p:childTnLst>
                                </p:cTn>
                              </p:par>
                              <p:par>
                                <p:cTn id="118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69 L 0.03086 -0.01273 " pathEditMode="relative" rAng="0" ptsTypes="AA">
                                      <p:cBhvr>
                                        <p:cTn id="11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49" y="-602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07407E-6 L 8.33333E-7 0.06389 " pathEditMode="relative" rAng="0" ptsTypes="AA">
                                      <p:cBhvr>
                                        <p:cTn id="12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94"/>
                                    </p:animMotion>
                                  </p:childTnLst>
                                </p:cTn>
                              </p:par>
                              <p:par>
                                <p:cTn id="122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7.40741E-7 L -8.33333E-7 0.06389 " pathEditMode="relative" rAng="0" ptsTypes="AA">
                                      <p:cBhvr>
                                        <p:cTn id="123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94"/>
                                    </p:animMotion>
                                  </p:childTnLst>
                                </p:cTn>
                              </p:par>
                              <p:par>
                                <p:cTn id="124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4.07407E-6 L -0.03555 -0.02778 " pathEditMode="relative" rAng="0" ptsTypes="AA">
                                      <p:cBhvr>
                                        <p:cTn id="12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  <p:par>
                                <p:cTn id="126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3.7037E-7 L -0.03554 -0.02778 " pathEditMode="relative" rAng="0" ptsTypes="AA">
                                      <p:cBhvr>
                                        <p:cTn id="12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  <p:par>
                                <p:cTn id="128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3.7037E-7 L -0.03554 -0.02778 " pathEditMode="relative" rAng="0" ptsTypes="AA">
                                      <p:cBhvr>
                                        <p:cTn id="129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  <p:par>
                                <p:cTn id="130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3.7037E-7 L -0.03554 -0.02778 " pathEditMode="relative" rAng="0" ptsTypes="AA">
                                      <p:cBhvr>
                                        <p:cTn id="131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  <p:par>
                                <p:cTn id="132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3.7037E-7 L -0.03554 -0.02778 " pathEditMode="relative" rAng="0" ptsTypes="AA">
                                      <p:cBhvr>
                                        <p:cTn id="13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  <p:par>
                                <p:cTn id="134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3.7037E-7 L -0.03554 -0.02778 " pathEditMode="relative" rAng="0" ptsTypes="AA">
                                      <p:cBhvr>
                                        <p:cTn id="135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  <p:par>
                                <p:cTn id="136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3.7037E-7 L -0.03554 -0.02778 " pathEditMode="relative" rAng="0" ptsTypes="AA">
                                      <p:cBhvr>
                                        <p:cTn id="137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18" grpId="0" animBg="1"/>
      <p:bldP spid="20" grpId="0" animBg="1"/>
      <p:bldP spid="21" grpId="0" animBg="1"/>
      <p:bldP spid="22" grpId="0" animBg="1"/>
      <p:bldP spid="31" grpId="0" animBg="1"/>
      <p:bldP spid="51" grpId="0" animBg="1"/>
      <p:bldP spid="53" grpId="0" animBg="1"/>
      <p:bldP spid="54" grpId="0" animBg="1"/>
      <p:bldP spid="55" grpId="0" animBg="1"/>
      <p:bldP spid="56" grpId="0" animBg="1"/>
      <p:bldP spid="58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6" grpId="0" animBg="1"/>
      <p:bldP spid="67" grpId="0" animBg="1"/>
      <p:bldP spid="68" grpId="0" animBg="1"/>
      <p:bldP spid="70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9" grpId="0" animBg="1"/>
      <p:bldP spid="80" grpId="0" animBg="1"/>
      <p:bldP spid="81" grpId="0" animBg="1"/>
      <p:bldP spid="82" grpId="0" animBg="1"/>
      <p:bldP spid="83" grpId="0" animBg="1"/>
      <p:bldP spid="84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7" grpId="0" animBg="1"/>
      <p:bldP spid="59" grpId="0" animBg="1"/>
      <p:bldP spid="72" grpId="0" animBg="1"/>
      <p:bldP spid="78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1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7199D-24E9-6317-01A7-038A69C7DF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d Term Solution 2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1D5BEF-6E74-4C35-1BEE-E7DC0A3BB4A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F48D32-964F-74AE-4ED9-D2FD7464C738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53DF4C-B840-7CAB-0A80-BEADC7354F8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1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60C4A0-410E-A088-8BEC-46F30B23AD5E}"/>
              </a:ext>
            </a:extLst>
          </p:cNvPr>
          <p:cNvSpPr txBox="1"/>
          <p:nvPr/>
        </p:nvSpPr>
        <p:spPr>
          <a:xfrm>
            <a:off x="1752600" y="2057400"/>
            <a:ext cx="3513782" cy="85408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This will solve the VLAN count issue 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The Current MCP will be shared between the PO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This will help in cutting down the MCP to half between the PO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endParaRPr lang="en-US" sz="10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112C288-563E-9372-86B0-A0CA466EB981}"/>
              </a:ext>
            </a:extLst>
          </p:cNvPr>
          <p:cNvCxnSpPr>
            <a:cxnSpLocks/>
          </p:cNvCxnSpPr>
          <p:nvPr/>
        </p:nvCxnSpPr>
        <p:spPr>
          <a:xfrm>
            <a:off x="5791200" y="1371600"/>
            <a:ext cx="0" cy="3505200"/>
          </a:xfrm>
          <a:prstGeom prst="line">
            <a:avLst/>
          </a:prstGeom>
          <a:noFill/>
          <a:ln w="28575" cap="flat" cmpd="sng" algn="ctr">
            <a:solidFill>
              <a:srgbClr val="0F238D"/>
            </a:solidFill>
            <a:prstDash val="soli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DF3EC63-6582-4F8F-6039-B6F3141CC11B}"/>
              </a:ext>
            </a:extLst>
          </p:cNvPr>
          <p:cNvCxnSpPr>
            <a:cxnSpLocks/>
          </p:cNvCxnSpPr>
          <p:nvPr/>
        </p:nvCxnSpPr>
        <p:spPr>
          <a:xfrm>
            <a:off x="3733800" y="5181600"/>
            <a:ext cx="4343400" cy="0"/>
          </a:xfrm>
          <a:prstGeom prst="line">
            <a:avLst/>
          </a:prstGeom>
          <a:noFill/>
          <a:ln w="28575" cap="flat" cmpd="sng" algn="ctr">
            <a:solidFill>
              <a:srgbClr val="0F238D"/>
            </a:solidFill>
            <a:prstDash val="solid"/>
          </a:ln>
          <a:effectLst/>
        </p:spPr>
      </p:cxnSp>
      <p:sp>
        <p:nvSpPr>
          <p:cNvPr id="12" name="Rounded Rectangle 95">
            <a:extLst>
              <a:ext uri="{FF2B5EF4-FFF2-40B4-BE49-F238E27FC236}">
                <a16:creationId xmlns:a16="http://schemas.microsoft.com/office/drawing/2014/main" id="{64218825-C9A5-3550-33F5-152E9B2279C6}"/>
              </a:ext>
            </a:extLst>
          </p:cNvPr>
          <p:cNvSpPr/>
          <p:nvPr/>
        </p:nvSpPr>
        <p:spPr>
          <a:xfrm>
            <a:off x="1676400" y="1447800"/>
            <a:ext cx="3478106" cy="381000"/>
          </a:xfrm>
          <a:prstGeom prst="round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iscoSansTT ExtraLight"/>
              </a:rPr>
              <a:t>Pros</a:t>
            </a:r>
          </a:p>
        </p:txBody>
      </p:sp>
      <p:sp>
        <p:nvSpPr>
          <p:cNvPr id="14" name="Rounded Rectangle 95">
            <a:extLst>
              <a:ext uri="{FF2B5EF4-FFF2-40B4-BE49-F238E27FC236}">
                <a16:creationId xmlns:a16="http://schemas.microsoft.com/office/drawing/2014/main" id="{E2EC78CF-29D9-6F87-5EE6-238CF8CB1A08}"/>
              </a:ext>
            </a:extLst>
          </p:cNvPr>
          <p:cNvSpPr/>
          <p:nvPr/>
        </p:nvSpPr>
        <p:spPr>
          <a:xfrm>
            <a:off x="7315200" y="1371600"/>
            <a:ext cx="3478106" cy="381000"/>
          </a:xfrm>
          <a:prstGeom prst="round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iscoSansTT ExtraLight"/>
              </a:rPr>
              <a:t>Cons</a:t>
            </a:r>
          </a:p>
        </p:txBody>
      </p:sp>
      <p:sp>
        <p:nvSpPr>
          <p:cNvPr id="15" name="Rounded Rectangle 95">
            <a:extLst>
              <a:ext uri="{FF2B5EF4-FFF2-40B4-BE49-F238E27FC236}">
                <a16:creationId xmlns:a16="http://schemas.microsoft.com/office/drawing/2014/main" id="{426A8559-616C-8186-0653-7CE630C2836F}"/>
              </a:ext>
            </a:extLst>
          </p:cNvPr>
          <p:cNvSpPr/>
          <p:nvPr/>
        </p:nvSpPr>
        <p:spPr>
          <a:xfrm>
            <a:off x="4191000" y="5334000"/>
            <a:ext cx="3478106" cy="381000"/>
          </a:xfrm>
          <a:prstGeom prst="round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iscoSansTT ExtraLight"/>
              </a:rPr>
              <a:t>Effor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F7ABB0-2E91-AF6D-9CBE-65A8E062A3FB}"/>
              </a:ext>
            </a:extLst>
          </p:cNvPr>
          <p:cNvSpPr txBox="1"/>
          <p:nvPr/>
        </p:nvSpPr>
        <p:spPr>
          <a:xfrm>
            <a:off x="6096000" y="1905000"/>
            <a:ext cx="5762796" cy="32137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Additional cost involved for the Leaf switch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DC team need to locate the space and power, cooling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Need to be in the same firmware code as it is like existing leaf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We need to segregate the DTAP VLAN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DC team to check the feasibility of the cable connectivity ( in case of Different rack )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We need to identify the free ports in FI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We need to check the SFP modules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We need to change the UCS  PO config  ( very carefully or else lead to outage )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We need to introduce the new VLAN group, LAN pin Group and change in the service profile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We need to create a new </a:t>
            </a:r>
            <a:r>
              <a:rPr lang="en-US" sz="1000" dirty="0" err="1"/>
              <a:t>vNIC</a:t>
            </a:r>
            <a:r>
              <a:rPr lang="en-US" sz="1000" dirty="0"/>
              <a:t> template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We need to do the changes in the ACI config ( VPC ) 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endParaRPr lang="en-US" sz="1000" dirty="0"/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b="1" dirty="0"/>
              <a:t>Workload cannot be migrated to all the blades in the Flexpod </a:t>
            </a:r>
            <a:r>
              <a:rPr lang="en-US" sz="1000" dirty="0"/>
              <a:t>( as we are segregating the VLAN  )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Unknown migration will lead to network disconnect of the VM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3701D7A-FA6B-A357-CE8C-6C465FE5B5CA}"/>
              </a:ext>
            </a:extLst>
          </p:cNvPr>
          <p:cNvSpPr txBox="1"/>
          <p:nvPr/>
        </p:nvSpPr>
        <p:spPr>
          <a:xfrm>
            <a:off x="4114800" y="5943600"/>
            <a:ext cx="3847207" cy="1461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Considering the above we would recommend this to go as a </a:t>
            </a:r>
            <a:r>
              <a:rPr lang="en-US" sz="1000" b="1" dirty="0"/>
              <a:t>Project</a:t>
            </a:r>
            <a:r>
              <a:rPr lang="en-US" sz="1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28272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2" grpId="0" animBg="1"/>
      <p:bldP spid="14" grpId="0" animBg="1"/>
      <p:bldP spid="15" grpId="0" animBg="1"/>
      <p:bldP spid="16" grpId="0"/>
      <p:bldP spid="1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6AB9B8-2438-1C21-2096-99474C7D63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XP list in EID and HTC has the problem and Free ports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8CA496-3C9C-A98D-D9C0-6CFBA24548B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275285-E3AD-AFAD-9604-E559468D44D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513D5F-336D-73F2-1239-970A453F722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2</a:t>
            </a:fld>
            <a:endParaRPr lang="en-US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7D52F904-CB64-157B-7A28-937FC9792639}"/>
              </a:ext>
            </a:extLst>
          </p:cNvPr>
          <p:cNvGraphicFramePr>
            <a:graphicFrameLocks noGrp="1"/>
          </p:cNvGraphicFramePr>
          <p:nvPr/>
        </p:nvGraphicFramePr>
        <p:xfrm>
          <a:off x="3599180" y="2513013"/>
          <a:ext cx="4431665" cy="2393950"/>
        </p:xfrm>
        <a:graphic>
          <a:graphicData uri="http://schemas.openxmlformats.org/drawingml/2006/table">
            <a:tbl>
              <a:tblPr firstRow="1" firstCol="1" bandRow="1">
                <a:tableStyleId>{0E3FDE45-AF77-4B5C-9715-49D594BDF05E}</a:tableStyleId>
              </a:tblPr>
              <a:tblGrid>
                <a:gridCol w="655320">
                  <a:extLst>
                    <a:ext uri="{9D8B030D-6E8A-4147-A177-3AD203B41FA5}">
                      <a16:colId xmlns:a16="http://schemas.microsoft.com/office/drawing/2014/main" val="3005944921"/>
                    </a:ext>
                  </a:extLst>
                </a:gridCol>
                <a:gridCol w="655320">
                  <a:extLst>
                    <a:ext uri="{9D8B030D-6E8A-4147-A177-3AD203B41FA5}">
                      <a16:colId xmlns:a16="http://schemas.microsoft.com/office/drawing/2014/main" val="1423581837"/>
                    </a:ext>
                  </a:extLst>
                </a:gridCol>
                <a:gridCol w="982980">
                  <a:extLst>
                    <a:ext uri="{9D8B030D-6E8A-4147-A177-3AD203B41FA5}">
                      <a16:colId xmlns:a16="http://schemas.microsoft.com/office/drawing/2014/main" val="2738180465"/>
                    </a:ext>
                  </a:extLst>
                </a:gridCol>
                <a:gridCol w="2138045">
                  <a:extLst>
                    <a:ext uri="{9D8B030D-6E8A-4147-A177-3AD203B41FA5}">
                      <a16:colId xmlns:a16="http://schemas.microsoft.com/office/drawing/2014/main" val="1907650149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W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W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FlexPo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Available interface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101257120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22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2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fceid007_b  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ore than 10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190467878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22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2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fceid007_a  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ore than 10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234181250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31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31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fceid005_b  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ore than 10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99264060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31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31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fceid005_a  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ore than 10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225421083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40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40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fceid006_a  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ore than 10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146517588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40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40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fceid006_b  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ore than 10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375615810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41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41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fceid004_a  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ore than 10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119537674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41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41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fceid004_b  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ore than 10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210997865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80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80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fceid009b   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ore than 10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395727903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80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80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fceid009a   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ore than 10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340928708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81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81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fceid010b   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ore than 10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252922199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81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81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ufceid010a   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more than 10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35148865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97461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F65D1F-74DD-F98B-2252-75B48B6CF0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52400"/>
            <a:ext cx="10858500" cy="372967"/>
          </a:xfrm>
        </p:spPr>
        <p:txBody>
          <a:bodyPr/>
          <a:lstStyle/>
          <a:p>
            <a:r>
              <a:rPr lang="en-US" dirty="0"/>
              <a:t>Observatio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A7CD97-B105-A513-1818-6F722C5F398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128AAC-8FCB-CF06-7A3A-93FD6F31F8C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A574CE-FFD9-93CE-1CE5-6BB78C03A7A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3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5698AAC-9230-3922-7E51-6E34D831604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800" y="685800"/>
            <a:ext cx="5540154" cy="596226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C0F459-5449-97A7-7EBA-2000A1C192D5}"/>
              </a:ext>
            </a:extLst>
          </p:cNvPr>
          <p:cNvSpPr txBox="1"/>
          <p:nvPr/>
        </p:nvSpPr>
        <p:spPr>
          <a:xfrm>
            <a:off x="533400" y="2057400"/>
            <a:ext cx="5129609" cy="274177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Compute is in one rack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Network is in different rack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Storage is in different room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endParaRPr lang="en-US" sz="1000" dirty="0"/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These above will lead to cable extension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VLAN mapping in various LEAF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Complexing the setup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endParaRPr lang="en-US" sz="1000" dirty="0"/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( It can’t be avoidable in such large landscape but with proper planning and design.,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Which can be minimized )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endParaRPr lang="en-US" sz="1000" dirty="0"/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For that the proposal will be from compute will be </a:t>
            </a:r>
            <a:r>
              <a:rPr lang="en-US" sz="1000" b="1" dirty="0"/>
              <a:t>LET US KEEP THE STACK SIMPLICITY</a:t>
            </a:r>
          </a:p>
        </p:txBody>
      </p:sp>
      <p:sp>
        <p:nvSpPr>
          <p:cNvPr id="10" name="Rounded Rectangle 95">
            <a:extLst>
              <a:ext uri="{FF2B5EF4-FFF2-40B4-BE49-F238E27FC236}">
                <a16:creationId xmlns:a16="http://schemas.microsoft.com/office/drawing/2014/main" id="{24AE2F4E-FD82-4981-2C81-AEE9F512AE34}"/>
              </a:ext>
            </a:extLst>
          </p:cNvPr>
          <p:cNvSpPr/>
          <p:nvPr/>
        </p:nvSpPr>
        <p:spPr>
          <a:xfrm>
            <a:off x="457200" y="1447800"/>
            <a:ext cx="3478106" cy="381000"/>
          </a:xfrm>
          <a:prstGeom prst="round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iscoSansTT ExtraLight"/>
              </a:rPr>
              <a:t>Observation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B922BB9-09FB-0801-A61D-BE0E248058D1}"/>
              </a:ext>
            </a:extLst>
          </p:cNvPr>
          <p:cNvCxnSpPr>
            <a:cxnSpLocks/>
          </p:cNvCxnSpPr>
          <p:nvPr/>
        </p:nvCxnSpPr>
        <p:spPr>
          <a:xfrm>
            <a:off x="5791200" y="685800"/>
            <a:ext cx="0" cy="5638800"/>
          </a:xfrm>
          <a:prstGeom prst="line">
            <a:avLst/>
          </a:prstGeom>
          <a:noFill/>
          <a:ln w="28575" cap="flat" cmpd="sng" algn="ctr">
            <a:solidFill>
              <a:srgbClr val="0F238D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9986103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426173-303E-2224-35B9-BE9B984741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 the Uplink ports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29E4B4AE-383C-BD1B-4C87-EC787CF5A83E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/>
          <a:stretch>
            <a:fillRect/>
          </a:stretch>
        </p:blipFill>
        <p:spPr>
          <a:xfrm>
            <a:off x="1722304" y="1370013"/>
            <a:ext cx="8185418" cy="4679950"/>
          </a:xfr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892022-A983-34EA-8D00-9FEC99265FC9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AFAB60-865D-E3B0-8836-5395A39C2BB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AC61C3-F5D3-F2BE-D3BC-7C45CA6D926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7227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2CC0D808-5C38-E8B4-2256-7C4091D1D1C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8C43FA-93F5-FE9E-CCCD-7D98A301BD27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E967DD-E6A3-F602-0C21-3C828CFDF735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6CDC47-5B03-33E6-9CAA-E3CF95D2095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A53DA7-099D-3BC5-08B1-190ADC6A0CD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5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2808AEA-3844-270B-9DD4-CE3E565D21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00188"/>
            <a:ext cx="12192000" cy="5457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0310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BBD3D712-41DD-8695-5734-CDE7153512DC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/>
          <a:stretch>
            <a:fillRect/>
          </a:stretch>
        </p:blipFill>
        <p:spPr>
          <a:xfrm>
            <a:off x="1150478" y="1370013"/>
            <a:ext cx="9329070" cy="4679950"/>
          </a:xfr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35B1EB-41FC-6751-9EC0-25A70C433239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677B87-796A-72E7-FA2A-8D3C885B5A9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98AA2D-333D-143F-0EF5-A718547F3EC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6628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EB294919-DF00-BDD8-7C20-2CB7DD814600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/>
          <a:stretch>
            <a:fillRect/>
          </a:stretch>
        </p:blipFill>
        <p:spPr>
          <a:xfrm>
            <a:off x="620211" y="1370013"/>
            <a:ext cx="10389604" cy="4679950"/>
          </a:xfr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D2258F-16E4-8863-7304-D1E147C007D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A49AAA-448A-3D9B-74FB-397A0153FEF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E0693A-B21A-330A-C162-8545A3BBD7B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3547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7F57022F-41EC-D91C-B270-04B2D036A67F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/>
          <a:stretch>
            <a:fillRect/>
          </a:stretch>
        </p:blipFill>
        <p:spPr>
          <a:xfrm>
            <a:off x="1581486" y="1370013"/>
            <a:ext cx="8467054" cy="4679950"/>
          </a:xfr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E92D60-9F64-9CEE-D45D-1CFDE8F5A8A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020A9F-5547-B316-DC2D-02D325421E9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18F8D2-96FE-2AAE-FFDF-C0C2A4ED0E2B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8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CBAFB97-8D8C-007F-5542-EF9602FF1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</p:spPr>
        <p:txBody>
          <a:bodyPr/>
          <a:lstStyle/>
          <a:p>
            <a:r>
              <a:rPr lang="en-US" dirty="0"/>
              <a:t>Config the </a:t>
            </a:r>
            <a:r>
              <a:rPr lang="en-US" dirty="0" err="1"/>
              <a:t>Portchann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2220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972F06-197D-DEE3-8E44-62207292A06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B95381-6B09-249C-9BDD-9665DB32D9F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D241C4-783B-0C35-771B-B9C4F79B417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19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2123027-3E5E-353F-95DF-AF0E6D86D4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2861" y="461548"/>
            <a:ext cx="9326277" cy="5934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267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68888242-FCC7-4F60-84D4-FD7B20707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 and problem statement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5DEC3FB-77F9-B581-22B4-0C7F1C557B52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r>
              <a:rPr lang="en-US" b="1" dirty="0"/>
              <a:t>Background: </a:t>
            </a:r>
            <a:r>
              <a:rPr lang="en-US" dirty="0"/>
              <a:t>After a Cisco ACI software upgrade alarming on the amount of VLAN’s with MCP started. The </a:t>
            </a:r>
            <a:r>
              <a:rPr lang="en-US" dirty="0" err="1"/>
              <a:t>vlan</a:t>
            </a:r>
            <a:r>
              <a:rPr lang="en-US" dirty="0"/>
              <a:t> amount was apparently exceeded for some time, but the upgrade enabled the alerting. Based on the alerting NTT and TCS Ops decided to hold any new deployments.</a:t>
            </a:r>
            <a:endParaRPr lang="en-US" b="1" dirty="0"/>
          </a:p>
          <a:p>
            <a:endParaRPr lang="en-US" b="1" dirty="0"/>
          </a:p>
          <a:p>
            <a:r>
              <a:rPr lang="en-US" b="1" dirty="0"/>
              <a:t>Problem statement: </a:t>
            </a:r>
            <a:r>
              <a:rPr lang="en-US" dirty="0"/>
              <a:t>New deployment of </a:t>
            </a:r>
            <a:r>
              <a:rPr lang="en-US" dirty="0" err="1"/>
              <a:t>vlans</a:t>
            </a:r>
            <a:r>
              <a:rPr lang="en-US" dirty="0"/>
              <a:t> to customers are on hold, on certain leaf switches due to exceeding the by vendor described limits/boundaries.</a:t>
            </a:r>
          </a:p>
          <a:p>
            <a:endParaRPr lang="en-US" b="1" dirty="0"/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hort summary of the problem: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(MCP)VLAN limits are being exceed on some leaf switches (N9k)(&gt;2000vlans)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CP (</a:t>
            </a:r>
            <a:r>
              <a:rPr lang="en-US" sz="18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isCabling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Protocol) limits are being exceeded (ACI) (&gt;256vlans)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mpact: 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ar</a:t>
            </a: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ious customers cannot get </a:t>
            </a:r>
            <a:r>
              <a:rPr lang="en-US" sz="1800" dirty="0" err="1">
                <a:latin typeface="Calibri" panose="020F0502020204030204" pitchFamily="34" charset="0"/>
                <a:ea typeface="Times New Roman" panose="02020603050405020304" pitchFamily="18" charset="0"/>
              </a:rPr>
              <a:t>vlan’s</a:t>
            </a: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 and therefore servers for their demands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1800" b="1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1800" b="1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en-US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b="1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B64EF1-46CA-BC4D-2E89-AF9F6A4A637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C14CD3A7-9E40-46FB-A41D-9CC29415685D}" type="datetime4">
              <a:rPr lang="en-US"/>
              <a:pPr/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F34B85-B5F8-9AA1-E8CA-FE9E8F0BED6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8EF9B8-B25D-F062-5681-ABA68DBEA6A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A2218858-49EA-4BF8-8EFE-B88A4580565A}" type="slidenum">
              <a:rPr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0223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C83F92C6-88E3-0BC6-9C9F-C9DAD875443D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/>
          <a:stretch>
            <a:fillRect/>
          </a:stretch>
        </p:blipFill>
        <p:spPr>
          <a:xfrm>
            <a:off x="2040365" y="1370013"/>
            <a:ext cx="7549296" cy="4679950"/>
          </a:xfr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E753DE-A562-39D7-734F-0433D2E4E04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B96482-7580-4B2B-AE73-7C51C16DC8C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D1286E-EE29-E6A4-68BF-E2E520E9907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8549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34D39A-5970-D580-7F6D-6FAB28799565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23E49D-35E9-FCD5-10E7-3000E2D41E0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2FEF8C-1E60-4002-E144-F382CFAA55B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EDB1679-3B54-EBC8-CD56-B56539D9AB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9626" y="0"/>
            <a:ext cx="795274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5065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4EB49D-6568-B295-8EDF-CB4D69EE72AC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3C0EC8-9483-029C-E55E-027E75459FB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AF925D-4ED0-CE9D-46A7-C291C9F544B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2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9F7DB1-58E2-BF45-9886-06B24F1086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6290" y="0"/>
            <a:ext cx="793941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9620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F7A0BB-6F24-54E3-6B5A-C0B2E96794F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717B45-E28E-343C-7293-AA1A921D2B0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05DAEE-323F-4D69-D2C2-D5EB344C464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3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3626C3-4D52-31D5-44DD-5796A91756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6290" y="0"/>
            <a:ext cx="793941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9404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1C380069-5F2A-D05A-E1EF-8A67C6B9859F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/>
          <a:stretch>
            <a:fillRect/>
          </a:stretch>
        </p:blipFill>
        <p:spPr>
          <a:xfrm>
            <a:off x="1712280" y="1370013"/>
            <a:ext cx="8205466" cy="4679950"/>
          </a:xfr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C1CC87-3064-2CCE-921E-480BC00018A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33A3A45-3806-2804-37B8-FFF718A69F0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385CD8-3288-AB35-B339-6FCEE5F49B4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4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F701091-02D1-6589-4B38-4B80C9D4C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</p:spPr>
        <p:txBody>
          <a:bodyPr/>
          <a:lstStyle/>
          <a:p>
            <a:r>
              <a:rPr lang="en-US" dirty="0"/>
              <a:t>Config the LAN pin group</a:t>
            </a:r>
          </a:p>
        </p:txBody>
      </p:sp>
    </p:spTree>
    <p:extLst>
      <p:ext uri="{BB962C8B-B14F-4D97-AF65-F5344CB8AC3E}">
        <p14:creationId xmlns:p14="http://schemas.microsoft.com/office/powerpoint/2010/main" val="394909630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3344DAE1-C661-BE2F-86A4-2943F6885BB4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/>
          <a:stretch>
            <a:fillRect/>
          </a:stretch>
        </p:blipFill>
        <p:spPr>
          <a:xfrm>
            <a:off x="3490588" y="1499879"/>
            <a:ext cx="4648849" cy="4420217"/>
          </a:xfr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8C1E601-4C2D-D63A-6B8E-53AA4CB81BEE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6E90A3-DD50-ED0F-FF64-0566BD43E67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149CD8-8F98-42DB-A7B5-24FBE684E24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43510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166863-FC67-2D63-67D3-21F3CB46D3A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8AF4AE-3438-E215-60C0-B1FC48EBDC5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5282A8-5A02-893A-2CED-46DF91593F2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6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2486AAC-0786-0DE9-1112-1C5F8C5CCC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1102" y="1261760"/>
            <a:ext cx="4629796" cy="433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2885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ECF09208-B71A-11FA-33E5-EF5A8F8B8B4D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/>
          <a:stretch>
            <a:fillRect/>
          </a:stretch>
        </p:blipFill>
        <p:spPr>
          <a:xfrm>
            <a:off x="3409615" y="2952645"/>
            <a:ext cx="4810796" cy="1514686"/>
          </a:xfr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3575E6-0454-1D10-4261-519DAAA0EF7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F99F49-754F-C3C4-2C31-B917C68543B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180C2A-E19A-CEBC-3736-66876658E76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1457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14D554AA-17E3-D805-8BC2-1ACFD4E92051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/>
          <a:stretch>
            <a:fillRect/>
          </a:stretch>
        </p:blipFill>
        <p:spPr>
          <a:xfrm>
            <a:off x="3031861" y="1370013"/>
            <a:ext cx="5566304" cy="4679950"/>
          </a:xfr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34F4317-BA2B-2F6F-CB0C-25A00AEA8374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96CE51-69E7-A8A2-0792-ACECCEDC3828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BC35EB-CA47-1818-A631-B8B1116CE03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8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CBCDBDD-B961-4F9C-3720-4B3D626D43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</p:spPr>
        <p:txBody>
          <a:bodyPr/>
          <a:lstStyle/>
          <a:p>
            <a:r>
              <a:rPr lang="en-US" dirty="0"/>
              <a:t>Config the </a:t>
            </a:r>
            <a:r>
              <a:rPr lang="en-US" dirty="0" err="1"/>
              <a:t>vNIC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593850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18FB410E-BBDB-00F8-6CD1-18045EA2C259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/>
          <a:stretch>
            <a:fillRect/>
          </a:stretch>
        </p:blipFill>
        <p:spPr>
          <a:xfrm>
            <a:off x="3040522" y="1370013"/>
            <a:ext cx="5548982" cy="4679950"/>
          </a:xfr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360443-8DE1-8FE8-D597-0D203FEE5B2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EEB6AFD-5024-8E14-9C70-92E43C23316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36486A-3788-C9D1-A12A-CA4146C18E6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9208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477435-8CC8-1FFD-7905-3B358DA9EB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ready in progress/execute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117CCA-6E0D-3995-6135-98B67F239965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342900" indent="-342900">
              <a:buAutoNum type="arabicPeriod"/>
            </a:pPr>
            <a:r>
              <a:rPr lang="en-US" b="1" dirty="0"/>
              <a:t>Cleanup </a:t>
            </a:r>
            <a:r>
              <a:rPr lang="en-US" b="1" dirty="0" err="1"/>
              <a:t>vlans</a:t>
            </a:r>
            <a:endParaRPr lang="en-US" b="1" dirty="0"/>
          </a:p>
          <a:p>
            <a:pPr marL="682625" lvl="1" indent="-342900">
              <a:buAutoNum type="arabicPeriod"/>
            </a:pPr>
            <a:r>
              <a:rPr lang="en-US" dirty="0"/>
              <a:t>Cleanup of un-used </a:t>
            </a:r>
            <a:r>
              <a:rPr lang="en-US" dirty="0" err="1"/>
              <a:t>vlans</a:t>
            </a:r>
            <a:r>
              <a:rPr lang="en-US" dirty="0"/>
              <a:t> will free up some space</a:t>
            </a:r>
          </a:p>
          <a:p>
            <a:pPr marL="682625" lvl="1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r>
              <a:rPr lang="en-US" b="1" dirty="0"/>
              <a:t>Enabling on demand End Point Groups (EPG’s)</a:t>
            </a:r>
          </a:p>
          <a:p>
            <a:pPr marL="682625" lvl="1" indent="-342900">
              <a:buAutoNum type="arabicPeriod"/>
            </a:pPr>
            <a:r>
              <a:rPr lang="en-US" dirty="0"/>
              <a:t>Changing EPG’s from static to on demand will free up the continuous load not peak load. And is best practice anyway</a:t>
            </a:r>
          </a:p>
          <a:p>
            <a:pPr marL="682625" lvl="1" indent="-342900">
              <a:buAutoNum type="arabicPeriod"/>
            </a:pPr>
            <a:endParaRPr lang="en-US" dirty="0"/>
          </a:p>
          <a:p>
            <a:r>
              <a:rPr lang="en-US" b="1" dirty="0"/>
              <a:t>Result: </a:t>
            </a:r>
            <a:r>
              <a:rPr lang="en-US" dirty="0"/>
              <a:t>Will free up some space, but not enough. </a:t>
            </a:r>
          </a:p>
          <a:p>
            <a:r>
              <a:rPr lang="en-US" dirty="0"/>
              <a:t>Currently clean up is still in progress by operations.</a:t>
            </a:r>
            <a:endParaRPr lang="en-US" b="1" dirty="0"/>
          </a:p>
          <a:p>
            <a:endParaRPr lang="en-US" dirty="0"/>
          </a:p>
          <a:p>
            <a:r>
              <a:rPr lang="en-US" dirty="0"/>
              <a:t>Next steps: see next slid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03C7B3-E0C6-952D-0E52-07AD18BC138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426C6B-BF53-8223-5510-A1BAA4E87D5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22615A-8AA8-7CF4-9B6D-1E476CB7F94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4191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87A899C3-0BAD-1DC2-9EE4-B927D93DE5C9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2"/>
          <a:stretch>
            <a:fillRect/>
          </a:stretch>
        </p:blipFill>
        <p:spPr>
          <a:xfrm>
            <a:off x="3000622" y="1370013"/>
            <a:ext cx="5628781" cy="4679950"/>
          </a:xfr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361032-FD03-7B0D-BB67-FC7F09421A0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B39E5E-FA6D-1102-9CDD-C4F388F6FD8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F815D2-A105-0220-EEBB-5E780494B2E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30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E3E1FCE-630B-E6F9-CAB3-52EFC4B36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64" y="433388"/>
            <a:ext cx="10858500" cy="372967"/>
          </a:xfrm>
        </p:spPr>
        <p:txBody>
          <a:bodyPr/>
          <a:lstStyle/>
          <a:p>
            <a:r>
              <a:rPr lang="en-US" dirty="0"/>
              <a:t>Associate the LAN Pin group to the </a:t>
            </a:r>
            <a:r>
              <a:rPr lang="en-US" dirty="0" err="1"/>
              <a:t>vNIC</a:t>
            </a:r>
            <a:r>
              <a:rPr lang="en-US" dirty="0"/>
              <a:t> template </a:t>
            </a:r>
          </a:p>
        </p:txBody>
      </p:sp>
    </p:spTree>
    <p:extLst>
      <p:ext uri="{BB962C8B-B14F-4D97-AF65-F5344CB8AC3E}">
        <p14:creationId xmlns:p14="http://schemas.microsoft.com/office/powerpoint/2010/main" val="35414738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C9ED04C4-E362-4F45-85DE-0248F62F67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42679498-4AE9-4C7D-97F2-11C5984C7D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A61F027F-65B0-408F-A3E6-CC90A95690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C552F0E8-B9BC-42C1-8CF3-888EEA0423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1" name="Text Placeholder 80">
            <a:extLst>
              <a:ext uri="{FF2B5EF4-FFF2-40B4-BE49-F238E27FC236}">
                <a16:creationId xmlns:a16="http://schemas.microsoft.com/office/drawing/2014/main" id="{1D5DC003-79B3-4FF5-93A8-66C079FF4D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A252A81-A52D-49DA-B600-03B854944D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1D8BC-CB65-49C2-B634-0E271805606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2258400" y="6518277"/>
            <a:ext cx="8985600" cy="139924"/>
          </a:xfrm>
        </p:spPr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6555A1-A0C8-4520-AAFB-57D038688A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31200" y="6518273"/>
            <a:ext cx="655199" cy="139701"/>
          </a:xfrm>
        </p:spPr>
        <p:txBody>
          <a:bodyPr/>
          <a:lstStyle/>
          <a:p>
            <a:fld id="{A2218858-49EA-4BF8-8EFE-B88A4580565A}" type="slidenum">
              <a:rPr lang="en-US"/>
              <a:pPr/>
              <a:t>31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5694D1-5B6E-43D5-B557-CD4050FA4D4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DB389492-908D-414E-9B10-5FBA9AAE3E0E}" type="datetime4">
              <a:rPr lang="en-US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334251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CA15C9-DE15-491C-8EC3-376E844B9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2F4CA3-89B1-10A0-0BF6-B663A27A3F8D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342900" indent="-342900">
              <a:buAutoNum type="arabicPeriod"/>
            </a:pPr>
            <a:r>
              <a:rPr lang="en-US" dirty="0"/>
              <a:t>For IT FC DEV END: Solution to disable MCP, safe to do</a:t>
            </a:r>
          </a:p>
          <a:p>
            <a:pPr marL="342900" indent="-342900">
              <a:buAutoNum type="arabicPeriod"/>
            </a:pPr>
            <a:r>
              <a:rPr lang="en-US" dirty="0"/>
              <a:t>For IT Core </a:t>
            </a:r>
            <a:r>
              <a:rPr lang="en-US" dirty="0" err="1"/>
              <a:t>FlexPod</a:t>
            </a:r>
            <a:r>
              <a:rPr lang="en-US" dirty="0"/>
              <a:t> environment: 1. Solution to deploy with boundary conditions 2. Explore </a:t>
            </a:r>
            <a:r>
              <a:rPr lang="en-US" dirty="0" err="1"/>
              <a:t>longterm</a:t>
            </a:r>
            <a:r>
              <a:rPr lang="en-US" dirty="0"/>
              <a:t> solution</a:t>
            </a:r>
          </a:p>
          <a:p>
            <a:pPr marL="342900" indent="-342900">
              <a:buAutoNum type="arabicPeriod"/>
            </a:pPr>
            <a:endParaRPr lang="en-US" dirty="0"/>
          </a:p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B56064-A144-9495-6113-C49CCC26A5F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D5E187-E0A8-9684-B88E-9CD921BC25B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A2CA3D-ED97-94FB-B457-1321C18F028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3819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F5A9D0-95DC-235D-0E0B-39826159E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C1874B23-644C-1518-0C6A-3857F8E891C9}"/>
              </a:ext>
            </a:extLst>
          </p:cNvPr>
          <p:cNvGraphicFramePr>
            <a:graphicFrameLocks noGrp="1"/>
          </p:cNvGraphicFramePr>
          <p:nvPr>
            <p:ph sz="quarter" idx="23"/>
            <p:extLst>
              <p:ext uri="{D42A27DB-BD31-4B8C-83A1-F6EECF244321}">
                <p14:modId xmlns:p14="http://schemas.microsoft.com/office/powerpoint/2010/main" val="3519600615"/>
              </p:ext>
            </p:extLst>
          </p:nvPr>
        </p:nvGraphicFramePr>
        <p:xfrm>
          <a:off x="123059" y="806355"/>
          <a:ext cx="11647463" cy="5989472"/>
        </p:xfrm>
        <a:graphic>
          <a:graphicData uri="http://schemas.openxmlformats.org/drawingml/2006/table">
            <a:tbl>
              <a:tblPr firstRow="1" firstCol="1" bandRow="1">
                <a:tableStyleId>{0E3FDE45-AF77-4B5C-9715-49D594BDF05E}</a:tableStyleId>
              </a:tblPr>
              <a:tblGrid>
                <a:gridCol w="168266">
                  <a:extLst>
                    <a:ext uri="{9D8B030D-6E8A-4147-A177-3AD203B41FA5}">
                      <a16:colId xmlns:a16="http://schemas.microsoft.com/office/drawing/2014/main" val="1864490344"/>
                    </a:ext>
                  </a:extLst>
                </a:gridCol>
                <a:gridCol w="890081">
                  <a:extLst>
                    <a:ext uri="{9D8B030D-6E8A-4147-A177-3AD203B41FA5}">
                      <a16:colId xmlns:a16="http://schemas.microsoft.com/office/drawing/2014/main" val="3146926860"/>
                    </a:ext>
                  </a:extLst>
                </a:gridCol>
                <a:gridCol w="2830252">
                  <a:extLst>
                    <a:ext uri="{9D8B030D-6E8A-4147-A177-3AD203B41FA5}">
                      <a16:colId xmlns:a16="http://schemas.microsoft.com/office/drawing/2014/main" val="170123605"/>
                    </a:ext>
                  </a:extLst>
                </a:gridCol>
                <a:gridCol w="1371683">
                  <a:extLst>
                    <a:ext uri="{9D8B030D-6E8A-4147-A177-3AD203B41FA5}">
                      <a16:colId xmlns:a16="http://schemas.microsoft.com/office/drawing/2014/main" val="1873818684"/>
                    </a:ext>
                  </a:extLst>
                </a:gridCol>
                <a:gridCol w="2278755">
                  <a:extLst>
                    <a:ext uri="{9D8B030D-6E8A-4147-A177-3AD203B41FA5}">
                      <a16:colId xmlns:a16="http://schemas.microsoft.com/office/drawing/2014/main" val="1221643584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190935346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val="709605110"/>
                    </a:ext>
                  </a:extLst>
                </a:gridCol>
                <a:gridCol w="1060426">
                  <a:extLst>
                    <a:ext uri="{9D8B030D-6E8A-4147-A177-3AD203B41FA5}">
                      <a16:colId xmlns:a16="http://schemas.microsoft.com/office/drawing/2014/main" val="508041063"/>
                    </a:ext>
                  </a:extLst>
                </a:gridCol>
              </a:tblGrid>
              <a:tr h="17217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#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Timing of solution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dirty="0">
                          <a:effectLst/>
                        </a:rPr>
                        <a:t>Solution idea</a:t>
                      </a:r>
                      <a:endParaRPr lang="en-US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Advantages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Disadvantage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Comments/questions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Status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Owner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5178600"/>
                  </a:ext>
                </a:extLst>
              </a:tr>
              <a:tr h="107977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1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Short term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dirty="0">
                          <a:effectLst/>
                        </a:rPr>
                        <a:t>1.Clean up un-used VLAN’s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dirty="0">
                          <a:effectLst/>
                        </a:rPr>
                        <a:t>2. Enable EPG on demand instead of immediate provisioning</a:t>
                      </a:r>
                      <a:endParaRPr lang="en-US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 dirty="0">
                          <a:effectLst/>
                        </a:rPr>
                        <a:t>Will free up on short term</a:t>
                      </a:r>
                      <a:endParaRPr lang="en-US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To be verified with Ops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Small delay for users (booth up of VM/IP/MCP) few seconds (likely not noticeable) – its already the new standard for deployment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Will not solve issue likely as limits are still expected to be exceeded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 dirty="0">
                          <a:effectLst/>
                        </a:rPr>
                        <a:t>To be tested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 dirty="0">
                          <a:effectLst/>
                        </a:rPr>
                        <a:t>How much will it save on MCP?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 dirty="0">
                          <a:effectLst/>
                        </a:rPr>
                        <a:t>Runbook created, next step plan change (see actions)</a:t>
                      </a:r>
                      <a:endParaRPr lang="en-US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dirty="0">
                          <a:effectLst/>
                        </a:rPr>
                        <a:t>Ongoing, being picked up by OPs</a:t>
                      </a:r>
                      <a:endParaRPr lang="en-US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dirty="0">
                          <a:effectLst/>
                        </a:rPr>
                        <a:t>Ops</a:t>
                      </a:r>
                      <a:endParaRPr lang="en-US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9036576"/>
                  </a:ext>
                </a:extLst>
              </a:tr>
              <a:tr h="71984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2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Mid term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dirty="0">
                          <a:effectLst/>
                        </a:rPr>
                        <a:t>MCP Limit: Add additional VPC and port channels from FI to leaf N9K. To free up space for MCP limit</a:t>
                      </a:r>
                      <a:endParaRPr lang="en-US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Ensure that vlans are within MCP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 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Will not solve 2000 leaf limit/issue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(minimal) Downtime on flex pods where this is applied.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Careful implementation required as can cause impact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 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Feature to be created for Design and PoC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Compute team (including connectivity) UCS/ACI/vSPHERE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6750833"/>
                  </a:ext>
                </a:extLst>
              </a:tr>
              <a:tr h="119974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3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Mid term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Leaf limit: Add additional leaf (n9k), and split DTA and PRD loads across the leaf’s that are exceeding limits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Ensure that vlans are within leaf limits</a:t>
                      </a:r>
                    </a:p>
                    <a:p>
                      <a:pPr marL="45720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 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Additional hardware investment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Additional maintenance from DC side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Complexity of configuration and maintenance increased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(minimal) Downtime on flex pods where this is applied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Careful implementation required as can cause impact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 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Feature to be created for Design and PoC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Compute team (including connectivity) UCS/ACI/vSPHERE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3597917"/>
                  </a:ext>
                </a:extLst>
              </a:tr>
              <a:tr h="191959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4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Mid term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Configure FlexPods differently:</a:t>
                      </a:r>
                    </a:p>
                    <a:p>
                      <a:pPr marL="742950" marR="0" lvl="1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700">
                          <a:effectLst/>
                        </a:rPr>
                        <a:t>FlexPod 10: Configure only PAAS VLANS on flexpod 10 ( stay below 256limit)</a:t>
                      </a:r>
                    </a:p>
                    <a:p>
                      <a:pPr marL="742950" marR="0" lvl="1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700">
                          <a:effectLst/>
                        </a:rPr>
                        <a:t>FlexPod 9: Only add IAAS Vlans to flexpod 9 (below 256limit)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 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Relatively short term can be executed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Stay within safe limits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Able to continue deployment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Automation impact to be validated if it works or needs small adjustments to scripts for vlan’s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If above proposal is implemented for how long can we safely proceed again till we reach limits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FlexPod rebalancing will be impacted 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NTT needs be involved in some cases for vlan taggings to facilitate vm migration between some flexpods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For how long can we continue?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Introduce technical debt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Prioritize delivery of FlexPod 10 (alignment with TCS volume build) if we want to explore this route</a:t>
                      </a: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 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tbd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Ops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2196247"/>
                  </a:ext>
                </a:extLst>
              </a:tr>
              <a:tr h="59987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4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Mid/Long term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dirty="0">
                          <a:effectLst/>
                        </a:rPr>
                        <a:t>Upgrade ACI software to newer version with higher limits.</a:t>
                      </a:r>
                      <a:endParaRPr lang="en-US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Vlans within limits both leaf and MCP and room to grow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Currently no “released maintenance” version available from Cisco only in between version. (Forecast Q2 to be released)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Align with Cisco to look for options to release correct version faster?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Cisco working on new version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Cisco and Datacenter connectivity team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9257428"/>
                  </a:ext>
                </a:extLst>
              </a:tr>
              <a:tr h="29847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5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Long Term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dirty="0">
                          <a:effectLst/>
                        </a:rPr>
                        <a:t>Redesign of setup (Availability zone/set) / </a:t>
                      </a:r>
                      <a:r>
                        <a:rPr lang="en-US" sz="700" dirty="0" err="1">
                          <a:effectLst/>
                        </a:rPr>
                        <a:t>Appcentric</a:t>
                      </a:r>
                      <a:r>
                        <a:rPr lang="en-US" sz="700" dirty="0">
                          <a:effectLst/>
                        </a:rPr>
                        <a:t> setup</a:t>
                      </a:r>
                      <a:endParaRPr lang="en-US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Long term scalability, future proof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en-US" sz="700">
                          <a:effectLst/>
                        </a:rPr>
                        <a:t>Long lead time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 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>
                          <a:effectLst/>
                        </a:rPr>
                        <a:t>tbd</a:t>
                      </a:r>
                      <a:endParaRPr lang="en-US" sz="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dirty="0">
                          <a:effectLst/>
                        </a:rPr>
                        <a:t>Domain architects</a:t>
                      </a:r>
                      <a:endParaRPr lang="en-US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0370" marR="4037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9478573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FE6676-4516-EE6C-0BD5-288EE24D9323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7A2BE1-053D-0FD3-4643-C6F0E3CE948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B34C2B-8804-DFD1-8D97-554B91470CBB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278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BBF1496-E05A-C6CC-468A-D57E6739E1C2}"/>
              </a:ext>
            </a:extLst>
          </p:cNvPr>
          <p:cNvCxnSpPr>
            <a:cxnSpLocks/>
          </p:cNvCxnSpPr>
          <p:nvPr/>
        </p:nvCxnSpPr>
        <p:spPr>
          <a:xfrm>
            <a:off x="4572000" y="2971800"/>
            <a:ext cx="0" cy="9906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8821E2A-2EED-8EA4-694F-A5B83650C7A8}"/>
              </a:ext>
            </a:extLst>
          </p:cNvPr>
          <p:cNvCxnSpPr>
            <a:cxnSpLocks/>
          </p:cNvCxnSpPr>
          <p:nvPr/>
        </p:nvCxnSpPr>
        <p:spPr>
          <a:xfrm>
            <a:off x="7162800" y="2971800"/>
            <a:ext cx="0" cy="9906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5E480EF-5C4A-1E33-4085-ADB9B9131660}"/>
              </a:ext>
            </a:extLst>
          </p:cNvPr>
          <p:cNvCxnSpPr>
            <a:cxnSpLocks/>
          </p:cNvCxnSpPr>
          <p:nvPr/>
        </p:nvCxnSpPr>
        <p:spPr>
          <a:xfrm>
            <a:off x="4343400" y="2971800"/>
            <a:ext cx="0" cy="2362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3DE6573-B307-B967-022F-1D500F589BE2}"/>
              </a:ext>
            </a:extLst>
          </p:cNvPr>
          <p:cNvCxnSpPr>
            <a:cxnSpLocks/>
          </p:cNvCxnSpPr>
          <p:nvPr/>
        </p:nvCxnSpPr>
        <p:spPr>
          <a:xfrm>
            <a:off x="7391400" y="2971800"/>
            <a:ext cx="0" cy="2362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0323E63-C06A-BD3B-B379-90FB79E560E7}"/>
              </a:ext>
            </a:extLst>
          </p:cNvPr>
          <p:cNvCxnSpPr>
            <a:cxnSpLocks/>
          </p:cNvCxnSpPr>
          <p:nvPr/>
        </p:nvCxnSpPr>
        <p:spPr>
          <a:xfrm flipH="1">
            <a:off x="4563208" y="3962400"/>
            <a:ext cx="6858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382AC4A-AF67-3CA2-DF52-C52F846A1180}"/>
              </a:ext>
            </a:extLst>
          </p:cNvPr>
          <p:cNvCxnSpPr>
            <a:cxnSpLocks/>
          </p:cNvCxnSpPr>
          <p:nvPr/>
        </p:nvCxnSpPr>
        <p:spPr>
          <a:xfrm flipH="1">
            <a:off x="4334607" y="5334000"/>
            <a:ext cx="9231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4014C11-8DD2-7488-A699-100C10D5796E}"/>
              </a:ext>
            </a:extLst>
          </p:cNvPr>
          <p:cNvCxnSpPr>
            <a:cxnSpLocks/>
          </p:cNvCxnSpPr>
          <p:nvPr/>
        </p:nvCxnSpPr>
        <p:spPr>
          <a:xfrm flipH="1">
            <a:off x="6494584" y="3962400"/>
            <a:ext cx="6858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E2E3441-12DE-836A-DF76-DA4E72843C94}"/>
              </a:ext>
            </a:extLst>
          </p:cNvPr>
          <p:cNvCxnSpPr>
            <a:cxnSpLocks/>
          </p:cNvCxnSpPr>
          <p:nvPr/>
        </p:nvCxnSpPr>
        <p:spPr>
          <a:xfrm flipH="1">
            <a:off x="6714392" y="5334000"/>
            <a:ext cx="6858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78084A7-4B5D-8A3F-AB2F-ECDCF6E33FD7}"/>
              </a:ext>
            </a:extLst>
          </p:cNvPr>
          <p:cNvCxnSpPr>
            <a:cxnSpLocks/>
          </p:cNvCxnSpPr>
          <p:nvPr/>
        </p:nvCxnSpPr>
        <p:spPr>
          <a:xfrm flipV="1">
            <a:off x="4267200" y="1676400"/>
            <a:ext cx="0" cy="121920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6705BDAC-BBC0-9CA8-29B8-0BF057C4D741}"/>
              </a:ext>
            </a:extLst>
          </p:cNvPr>
          <p:cNvCxnSpPr>
            <a:cxnSpLocks/>
          </p:cNvCxnSpPr>
          <p:nvPr/>
        </p:nvCxnSpPr>
        <p:spPr>
          <a:xfrm flipV="1">
            <a:off x="7848600" y="1676400"/>
            <a:ext cx="0" cy="12192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77D0D4F-D084-CED7-C4AB-3D2A242FA32D}"/>
              </a:ext>
            </a:extLst>
          </p:cNvPr>
          <p:cNvCxnSpPr>
            <a:cxnSpLocks/>
          </p:cNvCxnSpPr>
          <p:nvPr/>
        </p:nvCxnSpPr>
        <p:spPr>
          <a:xfrm flipV="1">
            <a:off x="3810000" y="1676400"/>
            <a:ext cx="0" cy="12192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F4702790-9120-FE92-994D-9B5C2A69E4C9}"/>
              </a:ext>
            </a:extLst>
          </p:cNvPr>
          <p:cNvCxnSpPr>
            <a:cxnSpLocks/>
          </p:cNvCxnSpPr>
          <p:nvPr/>
        </p:nvCxnSpPr>
        <p:spPr>
          <a:xfrm flipV="1">
            <a:off x="7315200" y="1676400"/>
            <a:ext cx="0" cy="121920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2410F10-E58E-9FEB-8C64-A70D96C5E28E}"/>
              </a:ext>
            </a:extLst>
          </p:cNvPr>
          <p:cNvCxnSpPr>
            <a:cxnSpLocks/>
          </p:cNvCxnSpPr>
          <p:nvPr/>
        </p:nvCxnSpPr>
        <p:spPr>
          <a:xfrm flipV="1">
            <a:off x="4267200" y="1752600"/>
            <a:ext cx="3048000" cy="114300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648BDE2-B87C-ECE1-64D1-F92EEF42F791}"/>
              </a:ext>
            </a:extLst>
          </p:cNvPr>
          <p:cNvCxnSpPr>
            <a:cxnSpLocks/>
          </p:cNvCxnSpPr>
          <p:nvPr/>
        </p:nvCxnSpPr>
        <p:spPr>
          <a:xfrm>
            <a:off x="4267200" y="1752600"/>
            <a:ext cx="3048000" cy="114300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F0F1B249-C8BD-E9F9-6D77-A09CC0D39CB9}"/>
              </a:ext>
            </a:extLst>
          </p:cNvPr>
          <p:cNvCxnSpPr>
            <a:cxnSpLocks/>
          </p:cNvCxnSpPr>
          <p:nvPr/>
        </p:nvCxnSpPr>
        <p:spPr>
          <a:xfrm>
            <a:off x="3810000" y="1752600"/>
            <a:ext cx="4114800" cy="1143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2A107AB-7F29-D28B-B51D-83546C9D3202}"/>
              </a:ext>
            </a:extLst>
          </p:cNvPr>
          <p:cNvCxnSpPr>
            <a:cxnSpLocks/>
          </p:cNvCxnSpPr>
          <p:nvPr/>
        </p:nvCxnSpPr>
        <p:spPr>
          <a:xfrm flipV="1">
            <a:off x="3810000" y="1752600"/>
            <a:ext cx="4038600" cy="1143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88003DDD-F3A9-14DC-DC1E-CBDE45048B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52400"/>
            <a:ext cx="10858500" cy="372967"/>
          </a:xfrm>
        </p:spPr>
        <p:txBody>
          <a:bodyPr/>
          <a:lstStyle/>
          <a:p>
            <a:r>
              <a:rPr lang="en-US" dirty="0"/>
              <a:t>ASIS – UCS Uplink connectivity - FXP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EBB2D3-62E4-7804-09A3-FBE62285777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BA2F51-6FF2-6CB7-313C-DAA88F6A7E8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C962D4-A8D9-2DB0-4A69-FC49E66E217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6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EF06F4-4417-B7CA-BD28-2E777E8A7F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3600" y="1600200"/>
            <a:ext cx="2362200" cy="2476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2881012-17EA-7B29-2761-8E971CA5D1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6600" y="1600200"/>
            <a:ext cx="2362200" cy="2476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EC5AEA4-393E-B0B5-458F-9211FD51FE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0" y="2819400"/>
            <a:ext cx="1771650" cy="1905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E2B20BD-6375-5F64-0A05-A948D9838C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4600" y="2819400"/>
            <a:ext cx="1771650" cy="1905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C88F815-D178-1D97-C8CB-05D2962925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9200" y="3657600"/>
            <a:ext cx="1771650" cy="10001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D3A1779-C084-2420-FE49-7123466A45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9200" y="4953000"/>
            <a:ext cx="1771650" cy="1000125"/>
          </a:xfrm>
          <a:prstGeom prst="rect">
            <a:avLst/>
          </a:prstGeom>
        </p:spPr>
      </p:pic>
      <p:sp>
        <p:nvSpPr>
          <p:cNvPr id="120" name="TextBox 119">
            <a:extLst>
              <a:ext uri="{FF2B5EF4-FFF2-40B4-BE49-F238E27FC236}">
                <a16:creationId xmlns:a16="http://schemas.microsoft.com/office/drawing/2014/main" id="{BA004EB6-12BE-4B18-789D-474612F55E8E}"/>
              </a:ext>
            </a:extLst>
          </p:cNvPr>
          <p:cNvSpPr txBox="1"/>
          <p:nvPr/>
        </p:nvSpPr>
        <p:spPr>
          <a:xfrm>
            <a:off x="2667000" y="1371600"/>
            <a:ext cx="1255152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N9K – Leaf 1 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1E11DE2C-3CD3-C390-6431-18343BA153E5}"/>
              </a:ext>
            </a:extLst>
          </p:cNvPr>
          <p:cNvSpPr txBox="1"/>
          <p:nvPr/>
        </p:nvSpPr>
        <p:spPr>
          <a:xfrm>
            <a:off x="7543800" y="1371600"/>
            <a:ext cx="1255152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N9K – Leaf 2 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0C7C7A3A-5044-A6EC-F728-5BBF2ED06D93}"/>
              </a:ext>
            </a:extLst>
          </p:cNvPr>
          <p:cNvSpPr txBox="1"/>
          <p:nvPr/>
        </p:nvSpPr>
        <p:spPr>
          <a:xfrm>
            <a:off x="3276600" y="2819400"/>
            <a:ext cx="387927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FI-A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E7C5B0B5-822A-0F34-2C91-D3FF049EA78C}"/>
              </a:ext>
            </a:extLst>
          </p:cNvPr>
          <p:cNvSpPr txBox="1"/>
          <p:nvPr/>
        </p:nvSpPr>
        <p:spPr>
          <a:xfrm>
            <a:off x="8153400" y="2819400"/>
            <a:ext cx="387927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FI-B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D52B5AE6-C875-2221-0A44-9478E5214BC5}"/>
              </a:ext>
            </a:extLst>
          </p:cNvPr>
          <p:cNvSpPr txBox="1"/>
          <p:nvPr/>
        </p:nvSpPr>
        <p:spPr>
          <a:xfrm>
            <a:off x="5715000" y="3429000"/>
            <a:ext cx="466474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CH1 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C59C9120-F2CC-5A5F-3B09-31FA6FD5B620}"/>
              </a:ext>
            </a:extLst>
          </p:cNvPr>
          <p:cNvSpPr txBox="1"/>
          <p:nvPr/>
        </p:nvSpPr>
        <p:spPr>
          <a:xfrm>
            <a:off x="5715000" y="5943600"/>
            <a:ext cx="580287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CH16 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CF0F81CB-8986-9C92-4392-463243887B12}"/>
              </a:ext>
            </a:extLst>
          </p:cNvPr>
          <p:cNvSpPr txBox="1"/>
          <p:nvPr/>
        </p:nvSpPr>
        <p:spPr>
          <a:xfrm>
            <a:off x="7467600" y="4038600"/>
            <a:ext cx="1118896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Server ports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847AA13E-2164-321A-1FF8-6AD72D9BCB9E}"/>
              </a:ext>
            </a:extLst>
          </p:cNvPr>
          <p:cNvSpPr txBox="1"/>
          <p:nvPr/>
        </p:nvSpPr>
        <p:spPr>
          <a:xfrm>
            <a:off x="3200400" y="4038600"/>
            <a:ext cx="1118896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Server ports</a:t>
            </a:r>
          </a:p>
        </p:txBody>
      </p:sp>
    </p:spTree>
    <p:extLst>
      <p:ext uri="{BB962C8B-B14F-4D97-AF65-F5344CB8AC3E}">
        <p14:creationId xmlns:p14="http://schemas.microsoft.com/office/powerpoint/2010/main" val="42260688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003DDD-F3A9-14DC-DC1E-CBDE45048B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52400"/>
            <a:ext cx="10858500" cy="372967"/>
          </a:xfrm>
        </p:spPr>
        <p:txBody>
          <a:bodyPr/>
          <a:lstStyle/>
          <a:p>
            <a:r>
              <a:rPr lang="en-US" dirty="0"/>
              <a:t>ASIS – UCS uplink connectivity - FXP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EBB2D3-62E4-7804-09A3-FBE62285777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BA2F51-6FF2-6CB7-313C-DAA88F6A7E8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C962D4-A8D9-2DB0-4A69-FC49E66E217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7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EF06F4-4417-B7CA-BD28-2E777E8A7F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9400" y="1524000"/>
            <a:ext cx="2362200" cy="2476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2881012-17EA-7B29-2761-8E971CA5D1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5600" y="1447800"/>
            <a:ext cx="2362200" cy="247650"/>
          </a:xfrm>
          <a:prstGeom prst="rect">
            <a:avLst/>
          </a:prstGeom>
        </p:spPr>
      </p:pic>
      <p:grpSp>
        <p:nvGrpSpPr>
          <p:cNvPr id="65" name="Group 64">
            <a:extLst>
              <a:ext uri="{FF2B5EF4-FFF2-40B4-BE49-F238E27FC236}">
                <a16:creationId xmlns:a16="http://schemas.microsoft.com/office/drawing/2014/main" id="{B37743FA-6F58-4C28-CD88-2D5C3F180F5A}"/>
              </a:ext>
            </a:extLst>
          </p:cNvPr>
          <p:cNvGrpSpPr/>
          <p:nvPr/>
        </p:nvGrpSpPr>
        <p:grpSpPr>
          <a:xfrm>
            <a:off x="3657600" y="2743200"/>
            <a:ext cx="4438650" cy="3133725"/>
            <a:chOff x="3657600" y="2819400"/>
            <a:chExt cx="4438650" cy="3133725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BBF1496-E05A-C6CC-468A-D57E6739E1C2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0" y="2971800"/>
              <a:ext cx="0" cy="990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8821E2A-2EED-8EA4-694F-A5B83650C7A8}"/>
                </a:ext>
              </a:extLst>
            </p:cNvPr>
            <p:cNvCxnSpPr>
              <a:cxnSpLocks/>
            </p:cNvCxnSpPr>
            <p:nvPr/>
          </p:nvCxnSpPr>
          <p:spPr>
            <a:xfrm>
              <a:off x="7162800" y="2971800"/>
              <a:ext cx="0" cy="990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5E480EF-5C4A-1E33-4085-ADB9B9131660}"/>
                </a:ext>
              </a:extLst>
            </p:cNvPr>
            <p:cNvCxnSpPr>
              <a:cxnSpLocks/>
            </p:cNvCxnSpPr>
            <p:nvPr/>
          </p:nvCxnSpPr>
          <p:spPr>
            <a:xfrm>
              <a:off x="4343400" y="2971800"/>
              <a:ext cx="0" cy="2362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3DE6573-B307-B967-022F-1D500F589BE2}"/>
                </a:ext>
              </a:extLst>
            </p:cNvPr>
            <p:cNvCxnSpPr>
              <a:cxnSpLocks/>
            </p:cNvCxnSpPr>
            <p:nvPr/>
          </p:nvCxnSpPr>
          <p:spPr>
            <a:xfrm>
              <a:off x="7391400" y="2971800"/>
              <a:ext cx="0" cy="2362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0323E63-C06A-BD3B-B379-90FB79E560E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63208" y="3962400"/>
              <a:ext cx="68580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2382AC4A-AF67-3CA2-DF52-C52F846A11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34607" y="5334000"/>
              <a:ext cx="92319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A4014C11-8DD2-7488-A699-100C10D5796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94584" y="3962400"/>
              <a:ext cx="68580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E2E3441-12DE-836A-DF76-DA4E72843C9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714392" y="5334000"/>
              <a:ext cx="68580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0EC5AEA4-393E-B0B5-458F-9211FD51FE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7600" y="2819400"/>
              <a:ext cx="1771650" cy="190500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E2B20BD-6375-5F64-0A05-A948D9838C8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324600" y="2819400"/>
              <a:ext cx="1771650" cy="190500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C88F815-D178-1D97-C8CB-05D2962925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29200" y="3657600"/>
              <a:ext cx="1771650" cy="1000125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D3A1779-C084-2420-FE49-7123466A45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29200" y="4953000"/>
              <a:ext cx="1771650" cy="1000125"/>
            </a:xfrm>
            <a:prstGeom prst="rect">
              <a:avLst/>
            </a:prstGeom>
          </p:spPr>
        </p:pic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BC68C59-6F5C-A2AC-A68A-9B90B6AC902A}"/>
              </a:ext>
            </a:extLst>
          </p:cNvPr>
          <p:cNvCxnSpPr/>
          <p:nvPr/>
        </p:nvCxnSpPr>
        <p:spPr>
          <a:xfrm>
            <a:off x="4683629" y="1695450"/>
            <a:ext cx="0" cy="114300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46F8D43-F79D-3980-2E1F-3CDD21A99109}"/>
              </a:ext>
            </a:extLst>
          </p:cNvPr>
          <p:cNvCxnSpPr/>
          <p:nvPr/>
        </p:nvCxnSpPr>
        <p:spPr>
          <a:xfrm>
            <a:off x="7122029" y="1619250"/>
            <a:ext cx="0" cy="114300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D1AA468-CCBE-E77A-E52F-EAABC4305066}"/>
              </a:ext>
            </a:extLst>
          </p:cNvPr>
          <p:cNvCxnSpPr>
            <a:cxnSpLocks/>
          </p:cNvCxnSpPr>
          <p:nvPr/>
        </p:nvCxnSpPr>
        <p:spPr>
          <a:xfrm>
            <a:off x="4683629" y="1695450"/>
            <a:ext cx="2438400" cy="106680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102F23E-11B7-95ED-E39D-ED6F544D7AB2}"/>
              </a:ext>
            </a:extLst>
          </p:cNvPr>
          <p:cNvCxnSpPr>
            <a:cxnSpLocks/>
          </p:cNvCxnSpPr>
          <p:nvPr/>
        </p:nvCxnSpPr>
        <p:spPr>
          <a:xfrm flipV="1">
            <a:off x="4683629" y="1619250"/>
            <a:ext cx="2438400" cy="121920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35AA5E08-B800-A09D-3A28-A24C1E0537DE}"/>
              </a:ext>
            </a:extLst>
          </p:cNvPr>
          <p:cNvSpPr/>
          <p:nvPr/>
        </p:nvSpPr>
        <p:spPr>
          <a:xfrm>
            <a:off x="4648200" y="16954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Circle: Hollow 15">
            <a:extLst>
              <a:ext uri="{FF2B5EF4-FFF2-40B4-BE49-F238E27FC236}">
                <a16:creationId xmlns:a16="http://schemas.microsoft.com/office/drawing/2014/main" id="{048F7CD0-2EEF-E1AA-EF96-1735BF6F00DB}"/>
              </a:ext>
            </a:extLst>
          </p:cNvPr>
          <p:cNvSpPr/>
          <p:nvPr/>
        </p:nvSpPr>
        <p:spPr>
          <a:xfrm>
            <a:off x="4657253" y="23812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0ED511DC-A5C7-D97E-C82B-EBB7BA12C0E0}"/>
              </a:ext>
            </a:extLst>
          </p:cNvPr>
          <p:cNvSpPr/>
          <p:nvPr/>
        </p:nvSpPr>
        <p:spPr>
          <a:xfrm>
            <a:off x="4657253" y="27622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647471D6-4A10-7D65-E25F-A7C57488D8E1}"/>
              </a:ext>
            </a:extLst>
          </p:cNvPr>
          <p:cNvSpPr/>
          <p:nvPr/>
        </p:nvSpPr>
        <p:spPr>
          <a:xfrm>
            <a:off x="7086128" y="16002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4F83D398-A263-39A7-997C-7E5AF5B07C4D}"/>
              </a:ext>
            </a:extLst>
          </p:cNvPr>
          <p:cNvSpPr/>
          <p:nvPr/>
        </p:nvSpPr>
        <p:spPr>
          <a:xfrm>
            <a:off x="7095653" y="19240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2E5A5F87-2A15-BB0F-C7F8-FAE61D1E5C4C}"/>
              </a:ext>
            </a:extLst>
          </p:cNvPr>
          <p:cNvSpPr/>
          <p:nvPr/>
        </p:nvSpPr>
        <p:spPr>
          <a:xfrm>
            <a:off x="7080413" y="22669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1" name="Circle: Hollow 30">
            <a:extLst>
              <a:ext uri="{FF2B5EF4-FFF2-40B4-BE49-F238E27FC236}">
                <a16:creationId xmlns:a16="http://schemas.microsoft.com/office/drawing/2014/main" id="{C703B485-A3BB-010A-BE9F-B2E4AAD8857A}"/>
              </a:ext>
            </a:extLst>
          </p:cNvPr>
          <p:cNvSpPr/>
          <p:nvPr/>
        </p:nvSpPr>
        <p:spPr>
          <a:xfrm>
            <a:off x="7095653" y="27622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1" name="Circle: Hollow 50">
            <a:extLst>
              <a:ext uri="{FF2B5EF4-FFF2-40B4-BE49-F238E27FC236}">
                <a16:creationId xmlns:a16="http://schemas.microsoft.com/office/drawing/2014/main" id="{DB69CF9C-C8BD-1631-526C-51174574319D}"/>
              </a:ext>
            </a:extLst>
          </p:cNvPr>
          <p:cNvSpPr/>
          <p:nvPr/>
        </p:nvSpPr>
        <p:spPr>
          <a:xfrm>
            <a:off x="5029200" y="25908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3" name="Circle: Hollow 52">
            <a:extLst>
              <a:ext uri="{FF2B5EF4-FFF2-40B4-BE49-F238E27FC236}">
                <a16:creationId xmlns:a16="http://schemas.microsoft.com/office/drawing/2014/main" id="{E3686602-F291-99FC-C5E2-3C80A3F1A42E}"/>
              </a:ext>
            </a:extLst>
          </p:cNvPr>
          <p:cNvSpPr/>
          <p:nvPr/>
        </p:nvSpPr>
        <p:spPr>
          <a:xfrm>
            <a:off x="5410200" y="24384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4" name="Circle: Hollow 53">
            <a:extLst>
              <a:ext uri="{FF2B5EF4-FFF2-40B4-BE49-F238E27FC236}">
                <a16:creationId xmlns:a16="http://schemas.microsoft.com/office/drawing/2014/main" id="{2F5435AB-7C6A-2077-0BF0-E26794472038}"/>
              </a:ext>
            </a:extLst>
          </p:cNvPr>
          <p:cNvSpPr/>
          <p:nvPr/>
        </p:nvSpPr>
        <p:spPr>
          <a:xfrm>
            <a:off x="5791200" y="22098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5" name="Circle: Hollow 54">
            <a:extLst>
              <a:ext uri="{FF2B5EF4-FFF2-40B4-BE49-F238E27FC236}">
                <a16:creationId xmlns:a16="http://schemas.microsoft.com/office/drawing/2014/main" id="{3F4B1553-D816-E097-CC4D-BB1F28783C0E}"/>
              </a:ext>
            </a:extLst>
          </p:cNvPr>
          <p:cNvSpPr/>
          <p:nvPr/>
        </p:nvSpPr>
        <p:spPr>
          <a:xfrm>
            <a:off x="6172200" y="20574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6" name="Circle: Hollow 55">
            <a:extLst>
              <a:ext uri="{FF2B5EF4-FFF2-40B4-BE49-F238E27FC236}">
                <a16:creationId xmlns:a16="http://schemas.microsoft.com/office/drawing/2014/main" id="{47D0773B-B614-7ADA-5D29-C6895D49DB04}"/>
              </a:ext>
            </a:extLst>
          </p:cNvPr>
          <p:cNvSpPr/>
          <p:nvPr/>
        </p:nvSpPr>
        <p:spPr>
          <a:xfrm>
            <a:off x="6543674" y="1838326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8" name="Circle: Hollow 57">
            <a:extLst>
              <a:ext uri="{FF2B5EF4-FFF2-40B4-BE49-F238E27FC236}">
                <a16:creationId xmlns:a16="http://schemas.microsoft.com/office/drawing/2014/main" id="{0F9DB464-F8AC-BFAA-FFBF-01DCA45E2F58}"/>
              </a:ext>
            </a:extLst>
          </p:cNvPr>
          <p:cNvSpPr/>
          <p:nvPr/>
        </p:nvSpPr>
        <p:spPr>
          <a:xfrm>
            <a:off x="6915148" y="16764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0" name="Circle: Hollow 59">
            <a:extLst>
              <a:ext uri="{FF2B5EF4-FFF2-40B4-BE49-F238E27FC236}">
                <a16:creationId xmlns:a16="http://schemas.microsoft.com/office/drawing/2014/main" id="{F9F596D9-92F4-EDAD-9DA9-4E987D1D60B8}"/>
              </a:ext>
            </a:extLst>
          </p:cNvPr>
          <p:cNvSpPr/>
          <p:nvPr/>
        </p:nvSpPr>
        <p:spPr>
          <a:xfrm>
            <a:off x="6696074" y="2543178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1" name="Circle: Hollow 60">
            <a:extLst>
              <a:ext uri="{FF2B5EF4-FFF2-40B4-BE49-F238E27FC236}">
                <a16:creationId xmlns:a16="http://schemas.microsoft.com/office/drawing/2014/main" id="{EE1A208B-8FA8-799C-E9DC-F50495799C5E}"/>
              </a:ext>
            </a:extLst>
          </p:cNvPr>
          <p:cNvSpPr/>
          <p:nvPr/>
        </p:nvSpPr>
        <p:spPr>
          <a:xfrm>
            <a:off x="6248400" y="23622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2" name="Circle: Hollow 61">
            <a:extLst>
              <a:ext uri="{FF2B5EF4-FFF2-40B4-BE49-F238E27FC236}">
                <a16:creationId xmlns:a16="http://schemas.microsoft.com/office/drawing/2014/main" id="{5B0B9B03-2AFE-72E0-8F76-1800BB79459C}"/>
              </a:ext>
            </a:extLst>
          </p:cNvPr>
          <p:cNvSpPr/>
          <p:nvPr/>
        </p:nvSpPr>
        <p:spPr>
          <a:xfrm>
            <a:off x="5791200" y="2140213"/>
            <a:ext cx="76200" cy="62975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3" name="Circle: Hollow 62">
            <a:extLst>
              <a:ext uri="{FF2B5EF4-FFF2-40B4-BE49-F238E27FC236}">
                <a16:creationId xmlns:a16="http://schemas.microsoft.com/office/drawing/2014/main" id="{4790D9AC-50F8-BC93-A99D-3071101B65E2}"/>
              </a:ext>
            </a:extLst>
          </p:cNvPr>
          <p:cNvSpPr/>
          <p:nvPr/>
        </p:nvSpPr>
        <p:spPr>
          <a:xfrm>
            <a:off x="5334000" y="1971674"/>
            <a:ext cx="76200" cy="62975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91B42B81-7F32-C89C-7E65-356D1B46CBF6}"/>
              </a:ext>
            </a:extLst>
          </p:cNvPr>
          <p:cNvSpPr/>
          <p:nvPr/>
        </p:nvSpPr>
        <p:spPr>
          <a:xfrm>
            <a:off x="4914896" y="1804985"/>
            <a:ext cx="76200" cy="62975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6" name="Circle: Hollow 65">
            <a:extLst>
              <a:ext uri="{FF2B5EF4-FFF2-40B4-BE49-F238E27FC236}">
                <a16:creationId xmlns:a16="http://schemas.microsoft.com/office/drawing/2014/main" id="{74BB4D75-B446-D13F-13D1-30257CDE39C1}"/>
              </a:ext>
            </a:extLst>
          </p:cNvPr>
          <p:cNvSpPr/>
          <p:nvPr/>
        </p:nvSpPr>
        <p:spPr>
          <a:xfrm>
            <a:off x="4999056" y="5227656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7" name="Circle: Hollow 66">
            <a:extLst>
              <a:ext uri="{FF2B5EF4-FFF2-40B4-BE49-F238E27FC236}">
                <a16:creationId xmlns:a16="http://schemas.microsoft.com/office/drawing/2014/main" id="{DE6D211B-735D-571A-22B7-B42E78F9BEF2}"/>
              </a:ext>
            </a:extLst>
          </p:cNvPr>
          <p:cNvSpPr/>
          <p:nvPr/>
        </p:nvSpPr>
        <p:spPr>
          <a:xfrm>
            <a:off x="4533896" y="2886074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8" name="Circle: Hollow 67">
            <a:extLst>
              <a:ext uri="{FF2B5EF4-FFF2-40B4-BE49-F238E27FC236}">
                <a16:creationId xmlns:a16="http://schemas.microsoft.com/office/drawing/2014/main" id="{98C1705B-1FD6-C726-F797-E043FB2C65F5}"/>
              </a:ext>
            </a:extLst>
          </p:cNvPr>
          <p:cNvSpPr/>
          <p:nvPr/>
        </p:nvSpPr>
        <p:spPr>
          <a:xfrm>
            <a:off x="6781800" y="3844328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0" name="Circle: Hollow 69">
            <a:extLst>
              <a:ext uri="{FF2B5EF4-FFF2-40B4-BE49-F238E27FC236}">
                <a16:creationId xmlns:a16="http://schemas.microsoft.com/office/drawing/2014/main" id="{92AFF069-45D4-2597-E8D7-1B6CB13F97B3}"/>
              </a:ext>
            </a:extLst>
          </p:cNvPr>
          <p:cNvSpPr/>
          <p:nvPr/>
        </p:nvSpPr>
        <p:spPr>
          <a:xfrm>
            <a:off x="7350368" y="2885552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1" name="Circle: Hollow 70">
            <a:extLst>
              <a:ext uri="{FF2B5EF4-FFF2-40B4-BE49-F238E27FC236}">
                <a16:creationId xmlns:a16="http://schemas.microsoft.com/office/drawing/2014/main" id="{5BAA16F4-8192-2B85-9DBC-CB30D2D83486}"/>
              </a:ext>
            </a:extLst>
          </p:cNvPr>
          <p:cNvSpPr/>
          <p:nvPr/>
        </p:nvSpPr>
        <p:spPr>
          <a:xfrm>
            <a:off x="4536832" y="3316792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3" name="Circle: Hollow 72">
            <a:extLst>
              <a:ext uri="{FF2B5EF4-FFF2-40B4-BE49-F238E27FC236}">
                <a16:creationId xmlns:a16="http://schemas.microsoft.com/office/drawing/2014/main" id="{D3A8B715-A1AA-4220-3820-BFE2335372A5}"/>
              </a:ext>
            </a:extLst>
          </p:cNvPr>
          <p:cNvSpPr/>
          <p:nvPr/>
        </p:nvSpPr>
        <p:spPr>
          <a:xfrm>
            <a:off x="4556928" y="3856056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4" name="Circle: Hollow 73">
            <a:extLst>
              <a:ext uri="{FF2B5EF4-FFF2-40B4-BE49-F238E27FC236}">
                <a16:creationId xmlns:a16="http://schemas.microsoft.com/office/drawing/2014/main" id="{BA06BAC7-0E04-2159-8359-AE4354A914D8}"/>
              </a:ext>
            </a:extLst>
          </p:cNvPr>
          <p:cNvSpPr/>
          <p:nvPr/>
        </p:nvSpPr>
        <p:spPr>
          <a:xfrm>
            <a:off x="4318280" y="520672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Circle: Hollow 74">
            <a:extLst>
              <a:ext uri="{FF2B5EF4-FFF2-40B4-BE49-F238E27FC236}">
                <a16:creationId xmlns:a16="http://schemas.microsoft.com/office/drawing/2014/main" id="{54367912-A56C-8F90-7E17-FB999EF82A21}"/>
              </a:ext>
            </a:extLst>
          </p:cNvPr>
          <p:cNvSpPr/>
          <p:nvPr/>
        </p:nvSpPr>
        <p:spPr>
          <a:xfrm>
            <a:off x="4307392" y="4643176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6" name="Circle: Hollow 75">
            <a:extLst>
              <a:ext uri="{FF2B5EF4-FFF2-40B4-BE49-F238E27FC236}">
                <a16:creationId xmlns:a16="http://schemas.microsoft.com/office/drawing/2014/main" id="{CA67DFA3-1E82-CA3A-8281-BF2CEB93CB9B}"/>
              </a:ext>
            </a:extLst>
          </p:cNvPr>
          <p:cNvSpPr/>
          <p:nvPr/>
        </p:nvSpPr>
        <p:spPr>
          <a:xfrm>
            <a:off x="4296504" y="4079632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Circle: Hollow 76">
            <a:extLst>
              <a:ext uri="{FF2B5EF4-FFF2-40B4-BE49-F238E27FC236}">
                <a16:creationId xmlns:a16="http://schemas.microsoft.com/office/drawing/2014/main" id="{6899CBC1-EE58-A0D7-3266-3E7E20B0A693}"/>
              </a:ext>
            </a:extLst>
          </p:cNvPr>
          <p:cNvSpPr/>
          <p:nvPr/>
        </p:nvSpPr>
        <p:spPr>
          <a:xfrm>
            <a:off x="4285616" y="3516088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Circle: Hollow 78">
            <a:extLst>
              <a:ext uri="{FF2B5EF4-FFF2-40B4-BE49-F238E27FC236}">
                <a16:creationId xmlns:a16="http://schemas.microsoft.com/office/drawing/2014/main" id="{F604233A-E5C6-01D1-E687-39958D482EA5}"/>
              </a:ext>
            </a:extLst>
          </p:cNvPr>
          <p:cNvSpPr/>
          <p:nvPr/>
        </p:nvSpPr>
        <p:spPr>
          <a:xfrm>
            <a:off x="7137400" y="38227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0" name="Circle: Hollow 79">
            <a:extLst>
              <a:ext uri="{FF2B5EF4-FFF2-40B4-BE49-F238E27FC236}">
                <a16:creationId xmlns:a16="http://schemas.microsoft.com/office/drawing/2014/main" id="{8C908061-A855-AD7D-ADEC-B8D1B904FCF6}"/>
              </a:ext>
            </a:extLst>
          </p:cNvPr>
          <p:cNvSpPr/>
          <p:nvPr/>
        </p:nvSpPr>
        <p:spPr>
          <a:xfrm>
            <a:off x="7118350" y="33528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1" name="Circle: Hollow 80">
            <a:extLst>
              <a:ext uri="{FF2B5EF4-FFF2-40B4-BE49-F238E27FC236}">
                <a16:creationId xmlns:a16="http://schemas.microsoft.com/office/drawing/2014/main" id="{C22DD98C-7D04-C4A2-102A-BDD48CFE3184}"/>
              </a:ext>
            </a:extLst>
          </p:cNvPr>
          <p:cNvSpPr/>
          <p:nvPr/>
        </p:nvSpPr>
        <p:spPr>
          <a:xfrm>
            <a:off x="7353300" y="35814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2" name="Circle: Hollow 81">
            <a:extLst>
              <a:ext uri="{FF2B5EF4-FFF2-40B4-BE49-F238E27FC236}">
                <a16:creationId xmlns:a16="http://schemas.microsoft.com/office/drawing/2014/main" id="{1C67A0D7-5957-B3C9-95FC-758AC0C915B5}"/>
              </a:ext>
            </a:extLst>
          </p:cNvPr>
          <p:cNvSpPr/>
          <p:nvPr/>
        </p:nvSpPr>
        <p:spPr>
          <a:xfrm>
            <a:off x="7362822" y="4295778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3" name="Circle: Hollow 82">
            <a:extLst>
              <a:ext uri="{FF2B5EF4-FFF2-40B4-BE49-F238E27FC236}">
                <a16:creationId xmlns:a16="http://schemas.microsoft.com/office/drawing/2014/main" id="{5BA87E2E-22D5-A503-DB0A-33F81E05921B}"/>
              </a:ext>
            </a:extLst>
          </p:cNvPr>
          <p:cNvSpPr/>
          <p:nvPr/>
        </p:nvSpPr>
        <p:spPr>
          <a:xfrm>
            <a:off x="7353292" y="5010156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Circle: Hollow 83">
            <a:extLst>
              <a:ext uri="{FF2B5EF4-FFF2-40B4-BE49-F238E27FC236}">
                <a16:creationId xmlns:a16="http://schemas.microsoft.com/office/drawing/2014/main" id="{576A1F22-1CA6-49C3-109F-FDEE2C0ED267}"/>
              </a:ext>
            </a:extLst>
          </p:cNvPr>
          <p:cNvSpPr/>
          <p:nvPr/>
        </p:nvSpPr>
        <p:spPr>
          <a:xfrm>
            <a:off x="7391400" y="55626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60DB9A5A-0CE6-A90E-FC1E-DD29FF5E3A18}"/>
              </a:ext>
            </a:extLst>
          </p:cNvPr>
          <p:cNvSpPr txBox="1"/>
          <p:nvPr/>
        </p:nvSpPr>
        <p:spPr>
          <a:xfrm>
            <a:off x="3352800" y="2438400"/>
            <a:ext cx="1143000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DTAP VLAN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5462021-72AA-69D1-3C2A-4F30E38FFA63}"/>
              </a:ext>
            </a:extLst>
          </p:cNvPr>
          <p:cNvSpPr txBox="1"/>
          <p:nvPr/>
        </p:nvSpPr>
        <p:spPr>
          <a:xfrm>
            <a:off x="7239000" y="2438400"/>
            <a:ext cx="1143000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DTAP VLAN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92EC723D-7750-A0F9-575B-5B41D889EF7F}"/>
              </a:ext>
            </a:extLst>
          </p:cNvPr>
          <p:cNvSpPr txBox="1"/>
          <p:nvPr/>
        </p:nvSpPr>
        <p:spPr>
          <a:xfrm>
            <a:off x="3962400" y="1295400"/>
            <a:ext cx="1143000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DTAP VLAN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5D5D815-8F59-9BA5-2E69-E75E24787F71}"/>
              </a:ext>
            </a:extLst>
          </p:cNvPr>
          <p:cNvSpPr txBox="1"/>
          <p:nvPr/>
        </p:nvSpPr>
        <p:spPr>
          <a:xfrm>
            <a:off x="6781800" y="1219200"/>
            <a:ext cx="1143000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DTAP VLAN</a:t>
            </a: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4BAD6355-ED18-E04B-3F8A-2B714835A36E}"/>
              </a:ext>
            </a:extLst>
          </p:cNvPr>
          <p:cNvSpPr/>
          <p:nvPr/>
        </p:nvSpPr>
        <p:spPr>
          <a:xfrm rot="1937758">
            <a:off x="4360114" y="2391673"/>
            <a:ext cx="1295400" cy="152400"/>
          </a:xfrm>
          <a:prstGeom prst="ellipse">
            <a:avLst/>
          </a:prstGeom>
          <a:noFill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CC196619-090C-2318-3417-FA8F3D728293}"/>
              </a:ext>
            </a:extLst>
          </p:cNvPr>
          <p:cNvSpPr/>
          <p:nvPr/>
        </p:nvSpPr>
        <p:spPr>
          <a:xfrm rot="19951173">
            <a:off x="6286682" y="2347681"/>
            <a:ext cx="1295400" cy="152400"/>
          </a:xfrm>
          <a:prstGeom prst="ellipse">
            <a:avLst/>
          </a:prstGeom>
          <a:noFill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5452558-300B-2648-FD77-C02782D7B448}"/>
              </a:ext>
            </a:extLst>
          </p:cNvPr>
          <p:cNvSpPr txBox="1"/>
          <p:nvPr/>
        </p:nvSpPr>
        <p:spPr>
          <a:xfrm>
            <a:off x="2667000" y="1290090"/>
            <a:ext cx="1255152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N9K – Leaf 1 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871D33E1-E50F-2FBF-1654-EA549C0CB2AF}"/>
              </a:ext>
            </a:extLst>
          </p:cNvPr>
          <p:cNvSpPr txBox="1"/>
          <p:nvPr/>
        </p:nvSpPr>
        <p:spPr>
          <a:xfrm>
            <a:off x="7965048" y="1213890"/>
            <a:ext cx="1255152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N9K – Leaf 2 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0AEB3F52-1154-538E-A1D2-51A9B778B850}"/>
              </a:ext>
            </a:extLst>
          </p:cNvPr>
          <p:cNvSpPr txBox="1"/>
          <p:nvPr/>
        </p:nvSpPr>
        <p:spPr>
          <a:xfrm>
            <a:off x="3276600" y="2737890"/>
            <a:ext cx="387927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FI-A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68171109-556F-9A12-F17B-2EDD436E047B}"/>
              </a:ext>
            </a:extLst>
          </p:cNvPr>
          <p:cNvSpPr txBox="1"/>
          <p:nvPr/>
        </p:nvSpPr>
        <p:spPr>
          <a:xfrm>
            <a:off x="8153400" y="2737890"/>
            <a:ext cx="387927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FI-B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03E73A1-0BD2-CF40-E082-EBEC2DFFD838}"/>
              </a:ext>
            </a:extLst>
          </p:cNvPr>
          <p:cNvSpPr txBox="1"/>
          <p:nvPr/>
        </p:nvSpPr>
        <p:spPr>
          <a:xfrm>
            <a:off x="5715000" y="3347490"/>
            <a:ext cx="466474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CH1 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03642A90-913D-2D97-961D-79298DD74888}"/>
              </a:ext>
            </a:extLst>
          </p:cNvPr>
          <p:cNvSpPr txBox="1"/>
          <p:nvPr/>
        </p:nvSpPr>
        <p:spPr>
          <a:xfrm>
            <a:off x="5715000" y="5862090"/>
            <a:ext cx="580287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CH16 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4BF0D62-767A-4AE6-5019-02A0E466E2F7}"/>
              </a:ext>
            </a:extLst>
          </p:cNvPr>
          <p:cNvSpPr txBox="1"/>
          <p:nvPr/>
        </p:nvSpPr>
        <p:spPr>
          <a:xfrm>
            <a:off x="7467600" y="3810000"/>
            <a:ext cx="1118896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Server ports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DC97252D-EF4E-BD43-4BAC-1E247BB4ADAD}"/>
              </a:ext>
            </a:extLst>
          </p:cNvPr>
          <p:cNvSpPr txBox="1"/>
          <p:nvPr/>
        </p:nvSpPr>
        <p:spPr>
          <a:xfrm>
            <a:off x="3124200" y="3810000"/>
            <a:ext cx="1118896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Server ports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4548E268-3254-06C2-D0F4-795AC38482A8}"/>
              </a:ext>
            </a:extLst>
          </p:cNvPr>
          <p:cNvSpPr txBox="1"/>
          <p:nvPr/>
        </p:nvSpPr>
        <p:spPr>
          <a:xfrm>
            <a:off x="4038600" y="1905000"/>
            <a:ext cx="1143000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PO 10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388D87A-F124-160C-99AC-F09D0F8B1CFC}"/>
              </a:ext>
            </a:extLst>
          </p:cNvPr>
          <p:cNvSpPr txBox="1"/>
          <p:nvPr/>
        </p:nvSpPr>
        <p:spPr>
          <a:xfrm>
            <a:off x="7315200" y="1905000"/>
            <a:ext cx="1143000" cy="2339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PO 20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82A7422A-4290-FCF1-6387-026D067C5527}"/>
              </a:ext>
            </a:extLst>
          </p:cNvPr>
          <p:cNvSpPr txBox="1"/>
          <p:nvPr/>
        </p:nvSpPr>
        <p:spPr>
          <a:xfrm>
            <a:off x="4495800" y="6324600"/>
            <a:ext cx="2705869" cy="70583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dirty="0"/>
              <a:t>The VLAN 2000 is not because of UCS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200" dirty="0"/>
              <a:t>The Current MCP is 350 per PO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772537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2.22222E-6 L 5E-6 0.10278 " pathEditMode="relative" rAng="0" ptsTypes="AA">
                                      <p:cBhvr>
                                        <p:cTn id="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42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2.22222E-6 L 3.75E-6 0.05833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91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69 L 0.0306 -0.02477 " pathEditMode="relative" ptsTypes="AA">
                                      <p:cBhvr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3 0.00023 L 0.03086 -0.02384 " pathEditMode="relative" rAng="0" ptsTypes="AA">
                                      <p:cBhvr>
                                        <p:cTn id="1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39 -0.00162 L 0.03034 -0.02569 " pathEditMode="relative" rAng="0" ptsTypes="AA">
                                      <p:cBhvr>
                                        <p:cTn id="1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39 -0.00162 L 0.03033 -0.0257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4 -0.00162 L 0.03034 -0.0257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1177E-17 3.7037E-7 L 0.03073 -0.02407 " pathEditMode="relative" rAng="0" ptsTypes="AA">
                                      <p:cBhvr>
                                        <p:cTn id="2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0 L 0.01719 -0.01343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-67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42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1.11111E-6 L 5E-6 0.05 " pathEditMode="relative" rAng="0" ptsTypes="AA">
                                      <p:cBhvr>
                                        <p:cTn id="3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42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1.11111E-6 L 3.75E-6 0.04722 " pathEditMode="relative" rAng="0" ptsTypes="AA">
                                      <p:cBhvr>
                                        <p:cTn id="3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3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500"/>
                            </p:stCondLst>
                            <p:childTnLst>
                              <p:par>
                                <p:cTn id="38" presetID="42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1.11111E-6 L -4.16667E-6 0.06389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0"/>
                            </p:stCondLst>
                            <p:childTnLst>
                              <p:par>
                                <p:cTn id="41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39 -0.00486 L -0.03594 -0.03264 " pathEditMode="relative" ptsTypes="AA">
                                      <p:cBhvr>
                                        <p:cTn id="4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500"/>
                            </p:stCondLst>
                            <p:childTnLst>
                              <p:par>
                                <p:cTn id="44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-3.33333E-6 L -0.03554 -0.02777 " pathEditMode="relative" rAng="0" ptsTypes="AA">
                                      <p:cBhvr>
                                        <p:cTn id="4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7000"/>
                            </p:stCondLst>
                            <p:childTnLst>
                              <p:par>
                                <p:cTn id="47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0 L -0.03554 -0.02778 " pathEditMode="relative" rAng="0" ptsTypes="AA">
                                      <p:cBhvr>
                                        <p:cTn id="4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7500"/>
                            </p:stCondLst>
                            <p:childTnLst>
                              <p:par>
                                <p:cTn id="50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33333E-6 L -0.03554 -0.02778 " pathEditMode="relative" rAng="0" ptsTypes="AA">
                                      <p:cBhvr>
                                        <p:cTn id="51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8000"/>
                            </p:stCondLst>
                            <p:childTnLst>
                              <p:par>
                                <p:cTn id="53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7 L -0.03554 -0.02778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8500"/>
                            </p:stCondLst>
                            <p:childTnLst>
                              <p:par>
                                <p:cTn id="56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07407E-6 L -0.02187 -0.01574 " pathEditMode="relative" rAng="0" ptsTypes="AA">
                                      <p:cBhvr>
                                        <p:cTn id="5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94" y="-78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2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112E-17 1.11111E-6 L 5.55112E-17 0.0625 " pathEditMode="relative" rAng="0" ptsTypes="AA">
                                      <p:cBhvr>
                                        <p:cTn id="6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25"/>
                                    </p:animMotion>
                                  </p:childTnLst>
                                </p:cTn>
                              </p:par>
                              <p:par>
                                <p:cTn id="62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-3.7037E-7 L -4.16667E-7 0.0625 " pathEditMode="relative" rAng="0" ptsTypes="AA">
                                      <p:cBhvr>
                                        <p:cTn id="63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25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63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-4.07407E-6 L 0.03555 -0.00115 " pathEditMode="relative" rAng="0" ptsTypes="AA">
                                      <p:cBhvr>
                                        <p:cTn id="6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71" y="-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35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-4.07407E-6 L -0.0569 -0.00115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52" y="-69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4.81481E-6 L -0.00104 -0.08703 " pathEditMode="relative" rAng="0" ptsTypes="AA">
                                      <p:cBhvr>
                                        <p:cTn id="7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4352"/>
                                    </p:animMotion>
                                  </p:childTnLst>
                                </p:cTn>
                              </p:par>
                              <p:par>
                                <p:cTn id="72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1.11111E-6 L -0.00104 -0.08704 " pathEditMode="relative" rAng="0" ptsTypes="AA">
                                      <p:cBhvr>
                                        <p:cTn id="7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4352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1.11111E-6 L -0.00104 -0.08704 " pathEditMode="relative" rAng="0" ptsTypes="AA">
                                      <p:cBhvr>
                                        <p:cTn id="75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4352"/>
                                    </p:animMotion>
                                  </p:childTnLst>
                                </p:cTn>
                              </p:par>
                              <p:par>
                                <p:cTn id="76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2.96296E-6 L 0.00156 -0.09607 " pathEditMode="relative" rAng="0" ptsTypes="AA">
                                      <p:cBhvr>
                                        <p:cTn id="7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" y="-48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63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3.7037E-6 L 0.02813 0.00047 " pathEditMode="relative" rAng="0" ptsTypes="AA">
                                      <p:cBhvr>
                                        <p:cTn id="8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06" y="23"/>
                                    </p:animMotion>
                                  </p:childTnLst>
                                </p:cTn>
                              </p:par>
                              <p:par>
                                <p:cTn id="82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2.96296E-6 L -0.00104 -0.06296 " pathEditMode="relative" rAng="0" ptsTypes="AA">
                                      <p:cBhvr>
                                        <p:cTn id="83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3148"/>
                                    </p:animMotion>
                                  </p:childTnLst>
                                </p:cTn>
                              </p:par>
                              <p:par>
                                <p:cTn id="84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44444E-6 L -0.00221 -0.09097 " pathEditMode="relative" rAng="0" ptsTypes="AA">
                                      <p:cBhvr>
                                        <p:cTn id="85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3611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7 1.11111E-6 L 0.00026 0.10694 " pathEditMode="relative" rAng="0" ptsTypes="AA">
                                      <p:cBhvr>
                                        <p:cTn id="87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534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42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2.22222E-6 L 0.00026 0.10694 " pathEditMode="relative" rAng="0" ptsTypes="AA">
                                      <p:cBhvr>
                                        <p:cTn id="91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5347"/>
                                    </p:animMotion>
                                  </p:childTnLst>
                                </p:cTn>
                              </p:par>
                              <p:par>
                                <p:cTn id="92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4.44444E-6 L 0.00026 0.10695 " pathEditMode="relative" rAng="0" ptsTypes="AA">
                                      <p:cBhvr>
                                        <p:cTn id="93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5347"/>
                                    </p:animMotion>
                                  </p:childTnLst>
                                </p:cTn>
                              </p:par>
                              <p:par>
                                <p:cTn id="94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-1.11111E-6 L 1.11022E-16 0.03056 " pathEditMode="relative" rAng="0" ptsTypes="AA">
                                      <p:cBhvr>
                                        <p:cTn id="95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28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35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0.05556 L -0.05937 -0.05 " pathEditMode="relative" rAng="0" ptsTypes="AA">
                                      <p:cBhvr>
                                        <p:cTn id="97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969" y="2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18" grpId="0" animBg="1"/>
      <p:bldP spid="20" grpId="0" animBg="1"/>
      <p:bldP spid="21" grpId="0" animBg="1"/>
      <p:bldP spid="22" grpId="0" animBg="1"/>
      <p:bldP spid="31" grpId="0" animBg="1"/>
      <p:bldP spid="51" grpId="0" animBg="1"/>
      <p:bldP spid="53" grpId="0" animBg="1"/>
      <p:bldP spid="54" grpId="0" animBg="1"/>
      <p:bldP spid="55" grpId="0" animBg="1"/>
      <p:bldP spid="56" grpId="0" animBg="1"/>
      <p:bldP spid="58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6" grpId="0" animBg="1"/>
      <p:bldP spid="67" grpId="0" animBg="1"/>
      <p:bldP spid="68" grpId="0" animBg="1"/>
      <p:bldP spid="70" grpId="0" animBg="1"/>
      <p:bldP spid="71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9" grpId="0" animBg="1"/>
      <p:bldP spid="80" grpId="0" animBg="1"/>
      <p:bldP spid="81" grpId="0" animBg="1"/>
      <p:bldP spid="82" grpId="0" animBg="1"/>
      <p:bldP spid="83" grpId="0" animBg="1"/>
      <p:bldP spid="8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B0230DD-FCDE-B8C6-4EEE-3FD5DAC42573}"/>
              </a:ext>
            </a:extLst>
          </p:cNvPr>
          <p:cNvCxnSpPr>
            <a:cxnSpLocks/>
          </p:cNvCxnSpPr>
          <p:nvPr/>
        </p:nvCxnSpPr>
        <p:spPr>
          <a:xfrm>
            <a:off x="7467600" y="1651000"/>
            <a:ext cx="0" cy="1143000"/>
          </a:xfrm>
          <a:prstGeom prst="line">
            <a:avLst/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7F9605B-1478-91A7-861E-88296F73B6B0}"/>
              </a:ext>
            </a:extLst>
          </p:cNvPr>
          <p:cNvCxnSpPr/>
          <p:nvPr/>
        </p:nvCxnSpPr>
        <p:spPr>
          <a:xfrm>
            <a:off x="4267200" y="1701800"/>
            <a:ext cx="0" cy="1066800"/>
          </a:xfrm>
          <a:prstGeom prst="line">
            <a:avLst/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88003DDD-F3A9-14DC-DC1E-CBDE45048B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52400"/>
            <a:ext cx="10858500" cy="372967"/>
          </a:xfrm>
        </p:spPr>
        <p:txBody>
          <a:bodyPr/>
          <a:lstStyle/>
          <a:p>
            <a:r>
              <a:rPr lang="en-US" dirty="0"/>
              <a:t>Mid Term Solution 1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EBB2D3-62E4-7804-09A3-FBE62285777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BA2F51-6FF2-6CB7-313C-DAA88F6A7E8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C962D4-A8D9-2DB0-4A69-FC49E66E217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8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EF06F4-4417-B7CA-BD28-2E777E8A7F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9400" y="1524000"/>
            <a:ext cx="2362200" cy="2476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2881012-17EA-7B29-2761-8E971CA5D1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5600" y="1447800"/>
            <a:ext cx="2362200" cy="247650"/>
          </a:xfrm>
          <a:prstGeom prst="rect">
            <a:avLst/>
          </a:prstGeom>
        </p:spPr>
      </p:pic>
      <p:grpSp>
        <p:nvGrpSpPr>
          <p:cNvPr id="65" name="Group 64">
            <a:extLst>
              <a:ext uri="{FF2B5EF4-FFF2-40B4-BE49-F238E27FC236}">
                <a16:creationId xmlns:a16="http://schemas.microsoft.com/office/drawing/2014/main" id="{B37743FA-6F58-4C28-CD88-2D5C3F180F5A}"/>
              </a:ext>
            </a:extLst>
          </p:cNvPr>
          <p:cNvGrpSpPr/>
          <p:nvPr/>
        </p:nvGrpSpPr>
        <p:grpSpPr>
          <a:xfrm>
            <a:off x="3657600" y="2743200"/>
            <a:ext cx="4438650" cy="3133725"/>
            <a:chOff x="3657600" y="2819400"/>
            <a:chExt cx="4438650" cy="3133725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BBF1496-E05A-C6CC-468A-D57E6739E1C2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0" y="2971800"/>
              <a:ext cx="0" cy="990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8821E2A-2EED-8EA4-694F-A5B83650C7A8}"/>
                </a:ext>
              </a:extLst>
            </p:cNvPr>
            <p:cNvCxnSpPr>
              <a:cxnSpLocks/>
            </p:cNvCxnSpPr>
            <p:nvPr/>
          </p:nvCxnSpPr>
          <p:spPr>
            <a:xfrm>
              <a:off x="7162800" y="2971800"/>
              <a:ext cx="0" cy="990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5E480EF-5C4A-1E33-4085-ADB9B9131660}"/>
                </a:ext>
              </a:extLst>
            </p:cNvPr>
            <p:cNvCxnSpPr>
              <a:cxnSpLocks/>
            </p:cNvCxnSpPr>
            <p:nvPr/>
          </p:nvCxnSpPr>
          <p:spPr>
            <a:xfrm>
              <a:off x="4343400" y="2971800"/>
              <a:ext cx="0" cy="2362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3DE6573-B307-B967-022F-1D500F589BE2}"/>
                </a:ext>
              </a:extLst>
            </p:cNvPr>
            <p:cNvCxnSpPr>
              <a:cxnSpLocks/>
            </p:cNvCxnSpPr>
            <p:nvPr/>
          </p:nvCxnSpPr>
          <p:spPr>
            <a:xfrm>
              <a:off x="7391400" y="2971800"/>
              <a:ext cx="0" cy="23622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0323E63-C06A-BD3B-B379-90FB79E560E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63208" y="3962400"/>
              <a:ext cx="68580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2382AC4A-AF67-3CA2-DF52-C52F846A11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34607" y="5334000"/>
              <a:ext cx="92319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A4014C11-8DD2-7488-A699-100C10D5796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94584" y="3962400"/>
              <a:ext cx="68580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E2E3441-12DE-836A-DF76-DA4E72843C9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714392" y="5334000"/>
              <a:ext cx="68580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0EC5AEA4-393E-B0B5-458F-9211FD51FE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7600" y="2819400"/>
              <a:ext cx="1771650" cy="190500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E2B20BD-6375-5F64-0A05-A948D9838C8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324600" y="2819400"/>
              <a:ext cx="1771650" cy="190500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C88F815-D178-1D97-C8CB-05D2962925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29200" y="3657600"/>
              <a:ext cx="1771650" cy="1000125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D3A1779-C084-2420-FE49-7123466A45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29200" y="4953000"/>
              <a:ext cx="1771650" cy="1000125"/>
            </a:xfrm>
            <a:prstGeom prst="rect">
              <a:avLst/>
            </a:prstGeom>
          </p:spPr>
        </p:pic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BC68C59-6F5C-A2AC-A68A-9B90B6AC902A}"/>
              </a:ext>
            </a:extLst>
          </p:cNvPr>
          <p:cNvCxnSpPr/>
          <p:nvPr/>
        </p:nvCxnSpPr>
        <p:spPr>
          <a:xfrm>
            <a:off x="4683629" y="1695450"/>
            <a:ext cx="0" cy="114300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46F8D43-F79D-3980-2E1F-3CDD21A99109}"/>
              </a:ext>
            </a:extLst>
          </p:cNvPr>
          <p:cNvCxnSpPr/>
          <p:nvPr/>
        </p:nvCxnSpPr>
        <p:spPr>
          <a:xfrm>
            <a:off x="7122029" y="1619250"/>
            <a:ext cx="0" cy="114300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D1AA468-CCBE-E77A-E52F-EAABC4305066}"/>
              </a:ext>
            </a:extLst>
          </p:cNvPr>
          <p:cNvCxnSpPr>
            <a:cxnSpLocks/>
          </p:cNvCxnSpPr>
          <p:nvPr/>
        </p:nvCxnSpPr>
        <p:spPr>
          <a:xfrm>
            <a:off x="4683629" y="1695450"/>
            <a:ext cx="2438400" cy="106680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102F23E-11B7-95ED-E39D-ED6F544D7AB2}"/>
              </a:ext>
            </a:extLst>
          </p:cNvPr>
          <p:cNvCxnSpPr>
            <a:cxnSpLocks/>
          </p:cNvCxnSpPr>
          <p:nvPr/>
        </p:nvCxnSpPr>
        <p:spPr>
          <a:xfrm flipV="1">
            <a:off x="4683629" y="1619250"/>
            <a:ext cx="2438400" cy="121920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35AA5E08-B800-A09D-3A28-A24C1E0537DE}"/>
              </a:ext>
            </a:extLst>
          </p:cNvPr>
          <p:cNvSpPr/>
          <p:nvPr/>
        </p:nvSpPr>
        <p:spPr>
          <a:xfrm>
            <a:off x="4648200" y="16954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Circle: Hollow 15">
            <a:extLst>
              <a:ext uri="{FF2B5EF4-FFF2-40B4-BE49-F238E27FC236}">
                <a16:creationId xmlns:a16="http://schemas.microsoft.com/office/drawing/2014/main" id="{048F7CD0-2EEF-E1AA-EF96-1735BF6F00DB}"/>
              </a:ext>
            </a:extLst>
          </p:cNvPr>
          <p:cNvSpPr/>
          <p:nvPr/>
        </p:nvSpPr>
        <p:spPr>
          <a:xfrm>
            <a:off x="4657253" y="23812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0ED511DC-A5C7-D97E-C82B-EBB7BA12C0E0}"/>
              </a:ext>
            </a:extLst>
          </p:cNvPr>
          <p:cNvSpPr/>
          <p:nvPr/>
        </p:nvSpPr>
        <p:spPr>
          <a:xfrm>
            <a:off x="4657253" y="27622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647471D6-4A10-7D65-E25F-A7C57488D8E1}"/>
              </a:ext>
            </a:extLst>
          </p:cNvPr>
          <p:cNvSpPr/>
          <p:nvPr/>
        </p:nvSpPr>
        <p:spPr>
          <a:xfrm>
            <a:off x="7086128" y="16002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Circle: Hollow 20">
            <a:extLst>
              <a:ext uri="{FF2B5EF4-FFF2-40B4-BE49-F238E27FC236}">
                <a16:creationId xmlns:a16="http://schemas.microsoft.com/office/drawing/2014/main" id="{4F83D398-A263-39A7-997C-7E5AF5B07C4D}"/>
              </a:ext>
            </a:extLst>
          </p:cNvPr>
          <p:cNvSpPr/>
          <p:nvPr/>
        </p:nvSpPr>
        <p:spPr>
          <a:xfrm>
            <a:off x="7095653" y="19240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Circle: Hollow 21">
            <a:extLst>
              <a:ext uri="{FF2B5EF4-FFF2-40B4-BE49-F238E27FC236}">
                <a16:creationId xmlns:a16="http://schemas.microsoft.com/office/drawing/2014/main" id="{2E5A5F87-2A15-BB0F-C7F8-FAE61D1E5C4C}"/>
              </a:ext>
            </a:extLst>
          </p:cNvPr>
          <p:cNvSpPr/>
          <p:nvPr/>
        </p:nvSpPr>
        <p:spPr>
          <a:xfrm>
            <a:off x="7080413" y="22669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1" name="Circle: Hollow 30">
            <a:extLst>
              <a:ext uri="{FF2B5EF4-FFF2-40B4-BE49-F238E27FC236}">
                <a16:creationId xmlns:a16="http://schemas.microsoft.com/office/drawing/2014/main" id="{C703B485-A3BB-010A-BE9F-B2E4AAD8857A}"/>
              </a:ext>
            </a:extLst>
          </p:cNvPr>
          <p:cNvSpPr/>
          <p:nvPr/>
        </p:nvSpPr>
        <p:spPr>
          <a:xfrm>
            <a:off x="7095653" y="276225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1" name="Circle: Hollow 50">
            <a:extLst>
              <a:ext uri="{FF2B5EF4-FFF2-40B4-BE49-F238E27FC236}">
                <a16:creationId xmlns:a16="http://schemas.microsoft.com/office/drawing/2014/main" id="{DB69CF9C-C8BD-1631-526C-51174574319D}"/>
              </a:ext>
            </a:extLst>
          </p:cNvPr>
          <p:cNvSpPr/>
          <p:nvPr/>
        </p:nvSpPr>
        <p:spPr>
          <a:xfrm>
            <a:off x="5029200" y="25908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3" name="Circle: Hollow 52">
            <a:extLst>
              <a:ext uri="{FF2B5EF4-FFF2-40B4-BE49-F238E27FC236}">
                <a16:creationId xmlns:a16="http://schemas.microsoft.com/office/drawing/2014/main" id="{E3686602-F291-99FC-C5E2-3C80A3F1A42E}"/>
              </a:ext>
            </a:extLst>
          </p:cNvPr>
          <p:cNvSpPr/>
          <p:nvPr/>
        </p:nvSpPr>
        <p:spPr>
          <a:xfrm>
            <a:off x="5410200" y="24384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4" name="Circle: Hollow 53">
            <a:extLst>
              <a:ext uri="{FF2B5EF4-FFF2-40B4-BE49-F238E27FC236}">
                <a16:creationId xmlns:a16="http://schemas.microsoft.com/office/drawing/2014/main" id="{2F5435AB-7C6A-2077-0BF0-E26794472038}"/>
              </a:ext>
            </a:extLst>
          </p:cNvPr>
          <p:cNvSpPr/>
          <p:nvPr/>
        </p:nvSpPr>
        <p:spPr>
          <a:xfrm>
            <a:off x="5791200" y="22098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5" name="Circle: Hollow 54">
            <a:extLst>
              <a:ext uri="{FF2B5EF4-FFF2-40B4-BE49-F238E27FC236}">
                <a16:creationId xmlns:a16="http://schemas.microsoft.com/office/drawing/2014/main" id="{3F4B1553-D816-E097-CC4D-BB1F28783C0E}"/>
              </a:ext>
            </a:extLst>
          </p:cNvPr>
          <p:cNvSpPr/>
          <p:nvPr/>
        </p:nvSpPr>
        <p:spPr>
          <a:xfrm>
            <a:off x="6172200" y="20574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6" name="Circle: Hollow 55">
            <a:extLst>
              <a:ext uri="{FF2B5EF4-FFF2-40B4-BE49-F238E27FC236}">
                <a16:creationId xmlns:a16="http://schemas.microsoft.com/office/drawing/2014/main" id="{47D0773B-B614-7ADA-5D29-C6895D49DB04}"/>
              </a:ext>
            </a:extLst>
          </p:cNvPr>
          <p:cNvSpPr/>
          <p:nvPr/>
        </p:nvSpPr>
        <p:spPr>
          <a:xfrm>
            <a:off x="6543674" y="1838326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8" name="Circle: Hollow 57">
            <a:extLst>
              <a:ext uri="{FF2B5EF4-FFF2-40B4-BE49-F238E27FC236}">
                <a16:creationId xmlns:a16="http://schemas.microsoft.com/office/drawing/2014/main" id="{0F9DB464-F8AC-BFAA-FFBF-01DCA45E2F58}"/>
              </a:ext>
            </a:extLst>
          </p:cNvPr>
          <p:cNvSpPr/>
          <p:nvPr/>
        </p:nvSpPr>
        <p:spPr>
          <a:xfrm>
            <a:off x="6915148" y="16764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0" name="Circle: Hollow 59">
            <a:extLst>
              <a:ext uri="{FF2B5EF4-FFF2-40B4-BE49-F238E27FC236}">
                <a16:creationId xmlns:a16="http://schemas.microsoft.com/office/drawing/2014/main" id="{F9F596D9-92F4-EDAD-9DA9-4E987D1D60B8}"/>
              </a:ext>
            </a:extLst>
          </p:cNvPr>
          <p:cNvSpPr/>
          <p:nvPr/>
        </p:nvSpPr>
        <p:spPr>
          <a:xfrm>
            <a:off x="6696074" y="2543178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1" name="Circle: Hollow 60">
            <a:extLst>
              <a:ext uri="{FF2B5EF4-FFF2-40B4-BE49-F238E27FC236}">
                <a16:creationId xmlns:a16="http://schemas.microsoft.com/office/drawing/2014/main" id="{EE1A208B-8FA8-799C-E9DC-F50495799C5E}"/>
              </a:ext>
            </a:extLst>
          </p:cNvPr>
          <p:cNvSpPr/>
          <p:nvPr/>
        </p:nvSpPr>
        <p:spPr>
          <a:xfrm>
            <a:off x="6248400" y="23622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2" name="Circle: Hollow 61">
            <a:extLst>
              <a:ext uri="{FF2B5EF4-FFF2-40B4-BE49-F238E27FC236}">
                <a16:creationId xmlns:a16="http://schemas.microsoft.com/office/drawing/2014/main" id="{5B0B9B03-2AFE-72E0-8F76-1800BB79459C}"/>
              </a:ext>
            </a:extLst>
          </p:cNvPr>
          <p:cNvSpPr/>
          <p:nvPr/>
        </p:nvSpPr>
        <p:spPr>
          <a:xfrm>
            <a:off x="5791200" y="2140213"/>
            <a:ext cx="76200" cy="62975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3" name="Circle: Hollow 62">
            <a:extLst>
              <a:ext uri="{FF2B5EF4-FFF2-40B4-BE49-F238E27FC236}">
                <a16:creationId xmlns:a16="http://schemas.microsoft.com/office/drawing/2014/main" id="{4790D9AC-50F8-BC93-A99D-3071101B65E2}"/>
              </a:ext>
            </a:extLst>
          </p:cNvPr>
          <p:cNvSpPr/>
          <p:nvPr/>
        </p:nvSpPr>
        <p:spPr>
          <a:xfrm>
            <a:off x="5334000" y="1971674"/>
            <a:ext cx="76200" cy="62975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4" name="Circle: Hollow 63">
            <a:extLst>
              <a:ext uri="{FF2B5EF4-FFF2-40B4-BE49-F238E27FC236}">
                <a16:creationId xmlns:a16="http://schemas.microsoft.com/office/drawing/2014/main" id="{91B42B81-7F32-C89C-7E65-356D1B46CBF6}"/>
              </a:ext>
            </a:extLst>
          </p:cNvPr>
          <p:cNvSpPr/>
          <p:nvPr/>
        </p:nvSpPr>
        <p:spPr>
          <a:xfrm>
            <a:off x="4914896" y="1804985"/>
            <a:ext cx="76200" cy="62975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6" name="Circle: Hollow 65">
            <a:extLst>
              <a:ext uri="{FF2B5EF4-FFF2-40B4-BE49-F238E27FC236}">
                <a16:creationId xmlns:a16="http://schemas.microsoft.com/office/drawing/2014/main" id="{74BB4D75-B446-D13F-13D1-30257CDE39C1}"/>
              </a:ext>
            </a:extLst>
          </p:cNvPr>
          <p:cNvSpPr/>
          <p:nvPr/>
        </p:nvSpPr>
        <p:spPr>
          <a:xfrm>
            <a:off x="4999056" y="5227656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7" name="Circle: Hollow 66">
            <a:extLst>
              <a:ext uri="{FF2B5EF4-FFF2-40B4-BE49-F238E27FC236}">
                <a16:creationId xmlns:a16="http://schemas.microsoft.com/office/drawing/2014/main" id="{DE6D211B-735D-571A-22B7-B42E78F9BEF2}"/>
              </a:ext>
            </a:extLst>
          </p:cNvPr>
          <p:cNvSpPr/>
          <p:nvPr/>
        </p:nvSpPr>
        <p:spPr>
          <a:xfrm>
            <a:off x="4533896" y="2886074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8" name="Circle: Hollow 67">
            <a:extLst>
              <a:ext uri="{FF2B5EF4-FFF2-40B4-BE49-F238E27FC236}">
                <a16:creationId xmlns:a16="http://schemas.microsoft.com/office/drawing/2014/main" id="{98C1705B-1FD6-C726-F797-E043FB2C65F5}"/>
              </a:ext>
            </a:extLst>
          </p:cNvPr>
          <p:cNvSpPr/>
          <p:nvPr/>
        </p:nvSpPr>
        <p:spPr>
          <a:xfrm>
            <a:off x="6781800" y="3844328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0" name="Circle: Hollow 69">
            <a:extLst>
              <a:ext uri="{FF2B5EF4-FFF2-40B4-BE49-F238E27FC236}">
                <a16:creationId xmlns:a16="http://schemas.microsoft.com/office/drawing/2014/main" id="{92AFF069-45D4-2597-E8D7-1B6CB13F97B3}"/>
              </a:ext>
            </a:extLst>
          </p:cNvPr>
          <p:cNvSpPr/>
          <p:nvPr/>
        </p:nvSpPr>
        <p:spPr>
          <a:xfrm>
            <a:off x="7350368" y="2885552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1" name="Circle: Hollow 70">
            <a:extLst>
              <a:ext uri="{FF2B5EF4-FFF2-40B4-BE49-F238E27FC236}">
                <a16:creationId xmlns:a16="http://schemas.microsoft.com/office/drawing/2014/main" id="{5BAA16F4-8192-2B85-9DBC-CB30D2D83486}"/>
              </a:ext>
            </a:extLst>
          </p:cNvPr>
          <p:cNvSpPr/>
          <p:nvPr/>
        </p:nvSpPr>
        <p:spPr>
          <a:xfrm>
            <a:off x="4536832" y="3316792"/>
            <a:ext cx="111368" cy="112208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3" name="Circle: Hollow 72">
            <a:extLst>
              <a:ext uri="{FF2B5EF4-FFF2-40B4-BE49-F238E27FC236}">
                <a16:creationId xmlns:a16="http://schemas.microsoft.com/office/drawing/2014/main" id="{D3A8B715-A1AA-4220-3820-BFE2335372A5}"/>
              </a:ext>
            </a:extLst>
          </p:cNvPr>
          <p:cNvSpPr/>
          <p:nvPr/>
        </p:nvSpPr>
        <p:spPr>
          <a:xfrm>
            <a:off x="4556928" y="3856056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4" name="Circle: Hollow 73">
            <a:extLst>
              <a:ext uri="{FF2B5EF4-FFF2-40B4-BE49-F238E27FC236}">
                <a16:creationId xmlns:a16="http://schemas.microsoft.com/office/drawing/2014/main" id="{BA06BAC7-0E04-2159-8359-AE4354A914D8}"/>
              </a:ext>
            </a:extLst>
          </p:cNvPr>
          <p:cNvSpPr/>
          <p:nvPr/>
        </p:nvSpPr>
        <p:spPr>
          <a:xfrm>
            <a:off x="4318280" y="520672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Circle: Hollow 74">
            <a:extLst>
              <a:ext uri="{FF2B5EF4-FFF2-40B4-BE49-F238E27FC236}">
                <a16:creationId xmlns:a16="http://schemas.microsoft.com/office/drawing/2014/main" id="{54367912-A56C-8F90-7E17-FB999EF82A21}"/>
              </a:ext>
            </a:extLst>
          </p:cNvPr>
          <p:cNvSpPr/>
          <p:nvPr/>
        </p:nvSpPr>
        <p:spPr>
          <a:xfrm>
            <a:off x="4307392" y="4643176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6" name="Circle: Hollow 75">
            <a:extLst>
              <a:ext uri="{FF2B5EF4-FFF2-40B4-BE49-F238E27FC236}">
                <a16:creationId xmlns:a16="http://schemas.microsoft.com/office/drawing/2014/main" id="{CA67DFA3-1E82-CA3A-8281-BF2CEB93CB9B}"/>
              </a:ext>
            </a:extLst>
          </p:cNvPr>
          <p:cNvSpPr/>
          <p:nvPr/>
        </p:nvSpPr>
        <p:spPr>
          <a:xfrm>
            <a:off x="4296504" y="4079632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7" name="Circle: Hollow 76">
            <a:extLst>
              <a:ext uri="{FF2B5EF4-FFF2-40B4-BE49-F238E27FC236}">
                <a16:creationId xmlns:a16="http://schemas.microsoft.com/office/drawing/2014/main" id="{6899CBC1-EE58-A0D7-3266-3E7E20B0A693}"/>
              </a:ext>
            </a:extLst>
          </p:cNvPr>
          <p:cNvSpPr/>
          <p:nvPr/>
        </p:nvSpPr>
        <p:spPr>
          <a:xfrm>
            <a:off x="4285616" y="3516088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Circle: Hollow 78">
            <a:extLst>
              <a:ext uri="{FF2B5EF4-FFF2-40B4-BE49-F238E27FC236}">
                <a16:creationId xmlns:a16="http://schemas.microsoft.com/office/drawing/2014/main" id="{F604233A-E5C6-01D1-E687-39958D482EA5}"/>
              </a:ext>
            </a:extLst>
          </p:cNvPr>
          <p:cNvSpPr/>
          <p:nvPr/>
        </p:nvSpPr>
        <p:spPr>
          <a:xfrm>
            <a:off x="7137400" y="38227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0" name="Circle: Hollow 79">
            <a:extLst>
              <a:ext uri="{FF2B5EF4-FFF2-40B4-BE49-F238E27FC236}">
                <a16:creationId xmlns:a16="http://schemas.microsoft.com/office/drawing/2014/main" id="{8C908061-A855-AD7D-ADEC-B8D1B904FCF6}"/>
              </a:ext>
            </a:extLst>
          </p:cNvPr>
          <p:cNvSpPr/>
          <p:nvPr/>
        </p:nvSpPr>
        <p:spPr>
          <a:xfrm>
            <a:off x="7118350" y="33528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1" name="Circle: Hollow 80">
            <a:extLst>
              <a:ext uri="{FF2B5EF4-FFF2-40B4-BE49-F238E27FC236}">
                <a16:creationId xmlns:a16="http://schemas.microsoft.com/office/drawing/2014/main" id="{C22DD98C-7D04-C4A2-102A-BDD48CFE3184}"/>
              </a:ext>
            </a:extLst>
          </p:cNvPr>
          <p:cNvSpPr/>
          <p:nvPr/>
        </p:nvSpPr>
        <p:spPr>
          <a:xfrm>
            <a:off x="7353300" y="35814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2" name="Circle: Hollow 81">
            <a:extLst>
              <a:ext uri="{FF2B5EF4-FFF2-40B4-BE49-F238E27FC236}">
                <a16:creationId xmlns:a16="http://schemas.microsoft.com/office/drawing/2014/main" id="{1C67A0D7-5957-B3C9-95FC-758AC0C915B5}"/>
              </a:ext>
            </a:extLst>
          </p:cNvPr>
          <p:cNvSpPr/>
          <p:nvPr/>
        </p:nvSpPr>
        <p:spPr>
          <a:xfrm>
            <a:off x="7362822" y="4295778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3" name="Circle: Hollow 82">
            <a:extLst>
              <a:ext uri="{FF2B5EF4-FFF2-40B4-BE49-F238E27FC236}">
                <a16:creationId xmlns:a16="http://schemas.microsoft.com/office/drawing/2014/main" id="{5BA87E2E-22D5-A503-DB0A-33F81E05921B}"/>
              </a:ext>
            </a:extLst>
          </p:cNvPr>
          <p:cNvSpPr/>
          <p:nvPr/>
        </p:nvSpPr>
        <p:spPr>
          <a:xfrm>
            <a:off x="7353292" y="5010156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4" name="Circle: Hollow 83">
            <a:extLst>
              <a:ext uri="{FF2B5EF4-FFF2-40B4-BE49-F238E27FC236}">
                <a16:creationId xmlns:a16="http://schemas.microsoft.com/office/drawing/2014/main" id="{576A1F22-1CA6-49C3-109F-FDEE2C0ED267}"/>
              </a:ext>
            </a:extLst>
          </p:cNvPr>
          <p:cNvSpPr/>
          <p:nvPr/>
        </p:nvSpPr>
        <p:spPr>
          <a:xfrm>
            <a:off x="7391400" y="5562600"/>
            <a:ext cx="76200" cy="76200"/>
          </a:xfrm>
          <a:prstGeom prst="donu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7D5548B-D359-C18A-D741-D9D2DE3C50B7}"/>
              </a:ext>
            </a:extLst>
          </p:cNvPr>
          <p:cNvCxnSpPr/>
          <p:nvPr/>
        </p:nvCxnSpPr>
        <p:spPr>
          <a:xfrm flipV="1">
            <a:off x="4267200" y="1676400"/>
            <a:ext cx="3200400" cy="1066800"/>
          </a:xfrm>
          <a:prstGeom prst="line">
            <a:avLst/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EFD52F0-28DA-D89A-88DF-37C6A14CDEC1}"/>
              </a:ext>
            </a:extLst>
          </p:cNvPr>
          <p:cNvCxnSpPr>
            <a:cxnSpLocks/>
          </p:cNvCxnSpPr>
          <p:nvPr/>
        </p:nvCxnSpPr>
        <p:spPr>
          <a:xfrm flipH="1" flipV="1">
            <a:off x="4267200" y="1752600"/>
            <a:ext cx="3200400" cy="990600"/>
          </a:xfrm>
          <a:prstGeom prst="line">
            <a:avLst/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0" name="Circle: Hollow 39">
            <a:extLst>
              <a:ext uri="{FF2B5EF4-FFF2-40B4-BE49-F238E27FC236}">
                <a16:creationId xmlns:a16="http://schemas.microsoft.com/office/drawing/2014/main" id="{39030BD9-085E-EA74-28B6-B79621593B9F}"/>
              </a:ext>
            </a:extLst>
          </p:cNvPr>
          <p:cNvSpPr/>
          <p:nvPr/>
        </p:nvSpPr>
        <p:spPr>
          <a:xfrm>
            <a:off x="4222750" y="17526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1" name="Circle: Hollow 40">
            <a:extLst>
              <a:ext uri="{FF2B5EF4-FFF2-40B4-BE49-F238E27FC236}">
                <a16:creationId xmlns:a16="http://schemas.microsoft.com/office/drawing/2014/main" id="{C8664FB6-2254-3CBB-C8DA-6A89FF8ED9C4}"/>
              </a:ext>
            </a:extLst>
          </p:cNvPr>
          <p:cNvSpPr/>
          <p:nvPr/>
        </p:nvSpPr>
        <p:spPr>
          <a:xfrm>
            <a:off x="4229100" y="22479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2" name="Circle: Hollow 41">
            <a:extLst>
              <a:ext uri="{FF2B5EF4-FFF2-40B4-BE49-F238E27FC236}">
                <a16:creationId xmlns:a16="http://schemas.microsoft.com/office/drawing/2014/main" id="{DB6CA745-B0A5-E7E2-15D2-E5FE8AD6098E}"/>
              </a:ext>
            </a:extLst>
          </p:cNvPr>
          <p:cNvSpPr/>
          <p:nvPr/>
        </p:nvSpPr>
        <p:spPr>
          <a:xfrm>
            <a:off x="4248150" y="27178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3" name="Circle: Hollow 42">
            <a:extLst>
              <a:ext uri="{FF2B5EF4-FFF2-40B4-BE49-F238E27FC236}">
                <a16:creationId xmlns:a16="http://schemas.microsoft.com/office/drawing/2014/main" id="{E6C78995-D4B9-6635-827C-39BD600D78B0}"/>
              </a:ext>
            </a:extLst>
          </p:cNvPr>
          <p:cNvSpPr/>
          <p:nvPr/>
        </p:nvSpPr>
        <p:spPr>
          <a:xfrm>
            <a:off x="4648200" y="25781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4" name="Circle: Hollow 43">
            <a:extLst>
              <a:ext uri="{FF2B5EF4-FFF2-40B4-BE49-F238E27FC236}">
                <a16:creationId xmlns:a16="http://schemas.microsoft.com/office/drawing/2014/main" id="{B45614B4-A1F8-C3FB-6B1C-A27385CB5D21}"/>
              </a:ext>
            </a:extLst>
          </p:cNvPr>
          <p:cNvSpPr/>
          <p:nvPr/>
        </p:nvSpPr>
        <p:spPr>
          <a:xfrm>
            <a:off x="5029200" y="24384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5" name="Circle: Hollow 44">
            <a:extLst>
              <a:ext uri="{FF2B5EF4-FFF2-40B4-BE49-F238E27FC236}">
                <a16:creationId xmlns:a16="http://schemas.microsoft.com/office/drawing/2014/main" id="{1CEB6FE1-CDC4-C1B5-BFB9-C445A01A53F7}"/>
              </a:ext>
            </a:extLst>
          </p:cNvPr>
          <p:cNvSpPr/>
          <p:nvPr/>
        </p:nvSpPr>
        <p:spPr>
          <a:xfrm>
            <a:off x="5410200" y="22860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6" name="Circle: Hollow 45">
            <a:extLst>
              <a:ext uri="{FF2B5EF4-FFF2-40B4-BE49-F238E27FC236}">
                <a16:creationId xmlns:a16="http://schemas.microsoft.com/office/drawing/2014/main" id="{EDE26688-9EB4-BDEF-75B4-5E751E256723}"/>
              </a:ext>
            </a:extLst>
          </p:cNvPr>
          <p:cNvSpPr/>
          <p:nvPr/>
        </p:nvSpPr>
        <p:spPr>
          <a:xfrm>
            <a:off x="5791200" y="21336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7" name="Circle: Hollow 46">
            <a:extLst>
              <a:ext uri="{FF2B5EF4-FFF2-40B4-BE49-F238E27FC236}">
                <a16:creationId xmlns:a16="http://schemas.microsoft.com/office/drawing/2014/main" id="{49541832-35D9-B8D5-3C70-7C671D79D263}"/>
              </a:ext>
            </a:extLst>
          </p:cNvPr>
          <p:cNvSpPr/>
          <p:nvPr/>
        </p:nvSpPr>
        <p:spPr>
          <a:xfrm>
            <a:off x="6172200" y="20574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8" name="Circle: Hollow 47">
            <a:extLst>
              <a:ext uri="{FF2B5EF4-FFF2-40B4-BE49-F238E27FC236}">
                <a16:creationId xmlns:a16="http://schemas.microsoft.com/office/drawing/2014/main" id="{57741CE1-B9CE-D66B-EAB0-30B0A5D637B2}"/>
              </a:ext>
            </a:extLst>
          </p:cNvPr>
          <p:cNvSpPr/>
          <p:nvPr/>
        </p:nvSpPr>
        <p:spPr>
          <a:xfrm>
            <a:off x="6553200" y="19050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9" name="Circle: Hollow 48">
            <a:extLst>
              <a:ext uri="{FF2B5EF4-FFF2-40B4-BE49-F238E27FC236}">
                <a16:creationId xmlns:a16="http://schemas.microsoft.com/office/drawing/2014/main" id="{EB9C8CEF-7281-682B-7381-A1C118198405}"/>
              </a:ext>
            </a:extLst>
          </p:cNvPr>
          <p:cNvSpPr/>
          <p:nvPr/>
        </p:nvSpPr>
        <p:spPr>
          <a:xfrm>
            <a:off x="7010400" y="17526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7" name="Circle: Hollow 56">
            <a:extLst>
              <a:ext uri="{FF2B5EF4-FFF2-40B4-BE49-F238E27FC236}">
                <a16:creationId xmlns:a16="http://schemas.microsoft.com/office/drawing/2014/main" id="{8CA5C65A-B62B-6A8A-08BA-D88EB8DE05CF}"/>
              </a:ext>
            </a:extLst>
          </p:cNvPr>
          <p:cNvSpPr/>
          <p:nvPr/>
        </p:nvSpPr>
        <p:spPr>
          <a:xfrm>
            <a:off x="7423150" y="167005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9" name="Circle: Hollow 58">
            <a:extLst>
              <a:ext uri="{FF2B5EF4-FFF2-40B4-BE49-F238E27FC236}">
                <a16:creationId xmlns:a16="http://schemas.microsoft.com/office/drawing/2014/main" id="{B5B61B38-3E7B-F652-1D13-DA174C70248B}"/>
              </a:ext>
            </a:extLst>
          </p:cNvPr>
          <p:cNvSpPr/>
          <p:nvPr/>
        </p:nvSpPr>
        <p:spPr>
          <a:xfrm>
            <a:off x="7435850" y="20828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2" name="Circle: Hollow 71">
            <a:extLst>
              <a:ext uri="{FF2B5EF4-FFF2-40B4-BE49-F238E27FC236}">
                <a16:creationId xmlns:a16="http://schemas.microsoft.com/office/drawing/2014/main" id="{A9E5B523-F65B-7971-1CAD-455B2FD21AA0}"/>
              </a:ext>
            </a:extLst>
          </p:cNvPr>
          <p:cNvSpPr/>
          <p:nvPr/>
        </p:nvSpPr>
        <p:spPr>
          <a:xfrm>
            <a:off x="7404100" y="271145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8" name="Circle: Hollow 77">
            <a:extLst>
              <a:ext uri="{FF2B5EF4-FFF2-40B4-BE49-F238E27FC236}">
                <a16:creationId xmlns:a16="http://schemas.microsoft.com/office/drawing/2014/main" id="{139A56FC-A71C-40AA-AB6F-3711DE27AB22}"/>
              </a:ext>
            </a:extLst>
          </p:cNvPr>
          <p:cNvSpPr/>
          <p:nvPr/>
        </p:nvSpPr>
        <p:spPr>
          <a:xfrm>
            <a:off x="6927850" y="25654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5" name="Circle: Hollow 84">
            <a:extLst>
              <a:ext uri="{FF2B5EF4-FFF2-40B4-BE49-F238E27FC236}">
                <a16:creationId xmlns:a16="http://schemas.microsoft.com/office/drawing/2014/main" id="{42FF94D2-0C86-2243-BB79-FEC848D16808}"/>
              </a:ext>
            </a:extLst>
          </p:cNvPr>
          <p:cNvSpPr/>
          <p:nvPr/>
        </p:nvSpPr>
        <p:spPr>
          <a:xfrm>
            <a:off x="6451600" y="241935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6" name="Circle: Hollow 85">
            <a:extLst>
              <a:ext uri="{FF2B5EF4-FFF2-40B4-BE49-F238E27FC236}">
                <a16:creationId xmlns:a16="http://schemas.microsoft.com/office/drawing/2014/main" id="{F3571C67-BA97-CF38-9AA5-B1FD9D4C9055}"/>
              </a:ext>
            </a:extLst>
          </p:cNvPr>
          <p:cNvSpPr/>
          <p:nvPr/>
        </p:nvSpPr>
        <p:spPr>
          <a:xfrm>
            <a:off x="5975350" y="22733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7" name="Circle: Hollow 86">
            <a:extLst>
              <a:ext uri="{FF2B5EF4-FFF2-40B4-BE49-F238E27FC236}">
                <a16:creationId xmlns:a16="http://schemas.microsoft.com/office/drawing/2014/main" id="{EFAE5A53-1B54-C41E-F8DF-BB77CAAB6C05}"/>
              </a:ext>
            </a:extLst>
          </p:cNvPr>
          <p:cNvSpPr/>
          <p:nvPr/>
        </p:nvSpPr>
        <p:spPr>
          <a:xfrm>
            <a:off x="5499100" y="212725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8" name="Circle: Hollow 87">
            <a:extLst>
              <a:ext uri="{FF2B5EF4-FFF2-40B4-BE49-F238E27FC236}">
                <a16:creationId xmlns:a16="http://schemas.microsoft.com/office/drawing/2014/main" id="{D353B352-AF74-7B76-AC18-AF95EBBABC54}"/>
              </a:ext>
            </a:extLst>
          </p:cNvPr>
          <p:cNvSpPr/>
          <p:nvPr/>
        </p:nvSpPr>
        <p:spPr>
          <a:xfrm>
            <a:off x="5022850" y="198120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9" name="Circle: Hollow 88">
            <a:extLst>
              <a:ext uri="{FF2B5EF4-FFF2-40B4-BE49-F238E27FC236}">
                <a16:creationId xmlns:a16="http://schemas.microsoft.com/office/drawing/2014/main" id="{BAF3852E-AE71-ABEF-0DCA-ED00A37E379D}"/>
              </a:ext>
            </a:extLst>
          </p:cNvPr>
          <p:cNvSpPr/>
          <p:nvPr/>
        </p:nvSpPr>
        <p:spPr>
          <a:xfrm>
            <a:off x="4546600" y="1835150"/>
            <a:ext cx="76200" cy="76200"/>
          </a:xfrm>
          <a:prstGeom prst="donu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A7AD9983-A6F1-51BA-AF17-38AF978E2E94}"/>
              </a:ext>
            </a:extLst>
          </p:cNvPr>
          <p:cNvSpPr/>
          <p:nvPr/>
        </p:nvSpPr>
        <p:spPr>
          <a:xfrm rot="1937758">
            <a:off x="4551802" y="2440520"/>
            <a:ext cx="823986" cy="82157"/>
          </a:xfrm>
          <a:prstGeom prst="ellipse">
            <a:avLst/>
          </a:prstGeom>
          <a:noFill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195D9130-8041-96BB-B2E4-2071FAB35C23}"/>
              </a:ext>
            </a:extLst>
          </p:cNvPr>
          <p:cNvSpPr/>
          <p:nvPr/>
        </p:nvSpPr>
        <p:spPr>
          <a:xfrm rot="19951173">
            <a:off x="6277733" y="2401477"/>
            <a:ext cx="1084336" cy="62001"/>
          </a:xfrm>
          <a:prstGeom prst="ellipse">
            <a:avLst/>
          </a:prstGeom>
          <a:noFill/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BB84BC0D-EDB2-65F4-3794-720417E19F3C}"/>
              </a:ext>
            </a:extLst>
          </p:cNvPr>
          <p:cNvSpPr txBox="1"/>
          <p:nvPr/>
        </p:nvSpPr>
        <p:spPr>
          <a:xfrm>
            <a:off x="2935848" y="1295400"/>
            <a:ext cx="1255152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N9K – Leaf 1 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D52BBB5-5FD6-EA0C-71ED-FAAA96B1BEE0}"/>
              </a:ext>
            </a:extLst>
          </p:cNvPr>
          <p:cNvSpPr txBox="1"/>
          <p:nvPr/>
        </p:nvSpPr>
        <p:spPr>
          <a:xfrm>
            <a:off x="7543800" y="1219200"/>
            <a:ext cx="1255152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N9K – Leaf 2 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8AEF5D4-AE1B-453B-E217-7696F8FF0781}"/>
              </a:ext>
            </a:extLst>
          </p:cNvPr>
          <p:cNvSpPr txBox="1"/>
          <p:nvPr/>
        </p:nvSpPr>
        <p:spPr>
          <a:xfrm>
            <a:off x="3200400" y="2737890"/>
            <a:ext cx="387927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FI-A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96F9A9D-CF5E-109B-77DC-23F57FA4DB66}"/>
              </a:ext>
            </a:extLst>
          </p:cNvPr>
          <p:cNvSpPr txBox="1"/>
          <p:nvPr/>
        </p:nvSpPr>
        <p:spPr>
          <a:xfrm>
            <a:off x="8153400" y="2743200"/>
            <a:ext cx="387927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FI-B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E8851100-8BE5-6666-FC19-C8C662C65BE4}"/>
              </a:ext>
            </a:extLst>
          </p:cNvPr>
          <p:cNvSpPr txBox="1"/>
          <p:nvPr/>
        </p:nvSpPr>
        <p:spPr>
          <a:xfrm>
            <a:off x="5715000" y="3352800"/>
            <a:ext cx="466474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CH1 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7FA2A97B-A191-AF98-362A-D4A94AC0CA9E}"/>
              </a:ext>
            </a:extLst>
          </p:cNvPr>
          <p:cNvSpPr txBox="1"/>
          <p:nvPr/>
        </p:nvSpPr>
        <p:spPr>
          <a:xfrm>
            <a:off x="5715000" y="5943600"/>
            <a:ext cx="580287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CH16 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D768E928-1385-9B17-7BC1-2644AD6BE7EE}"/>
              </a:ext>
            </a:extLst>
          </p:cNvPr>
          <p:cNvSpPr txBox="1"/>
          <p:nvPr/>
        </p:nvSpPr>
        <p:spPr>
          <a:xfrm>
            <a:off x="7491704" y="4038600"/>
            <a:ext cx="1118896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Server ports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A8A234BD-4AB3-E03F-ACA3-8F7AA15D862F}"/>
              </a:ext>
            </a:extLst>
          </p:cNvPr>
          <p:cNvSpPr txBox="1"/>
          <p:nvPr/>
        </p:nvSpPr>
        <p:spPr>
          <a:xfrm>
            <a:off x="2819400" y="4038600"/>
            <a:ext cx="1118896" cy="23391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600" dirty="0"/>
              <a:t>Server ports</a:t>
            </a: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2C5804CC-C296-747D-C08A-1AC29D6AAD13}"/>
              </a:ext>
            </a:extLst>
          </p:cNvPr>
          <p:cNvSpPr/>
          <p:nvPr/>
        </p:nvSpPr>
        <p:spPr>
          <a:xfrm rot="1937758">
            <a:off x="4203213" y="2606038"/>
            <a:ext cx="379787" cy="129553"/>
          </a:xfrm>
          <a:prstGeom prst="ellipse">
            <a:avLst/>
          </a:prstGeom>
          <a:noFill/>
          <a:ln w="19050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lt1"/>
                </a:solidFill>
              </a14:hiddenFill>
            </a:ext>
          </a:ex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F01DA429-2CCC-A5C3-A0F9-FF0B9EDE0FE7}"/>
              </a:ext>
            </a:extLst>
          </p:cNvPr>
          <p:cNvSpPr/>
          <p:nvPr/>
        </p:nvSpPr>
        <p:spPr>
          <a:xfrm rot="19951173">
            <a:off x="7173746" y="2546039"/>
            <a:ext cx="435310" cy="153877"/>
          </a:xfrm>
          <a:prstGeom prst="ellipse">
            <a:avLst/>
          </a:prstGeom>
          <a:noFill/>
          <a:ln w="19050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38AE075B-E9B6-3E72-D8CA-16A2847F63DD}"/>
              </a:ext>
            </a:extLst>
          </p:cNvPr>
          <p:cNvSpPr txBox="1"/>
          <p:nvPr/>
        </p:nvSpPr>
        <p:spPr>
          <a:xfrm>
            <a:off x="3810000" y="2590800"/>
            <a:ext cx="1143000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PO 11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5A016E2-9C17-97CE-A835-E8409E7C75F1}"/>
              </a:ext>
            </a:extLst>
          </p:cNvPr>
          <p:cNvSpPr txBox="1"/>
          <p:nvPr/>
        </p:nvSpPr>
        <p:spPr>
          <a:xfrm>
            <a:off x="7696200" y="2590800"/>
            <a:ext cx="1143000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PO 21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372DF0E0-B927-7C8B-0129-72C9EDC761A0}"/>
              </a:ext>
            </a:extLst>
          </p:cNvPr>
          <p:cNvSpPr txBox="1"/>
          <p:nvPr/>
        </p:nvSpPr>
        <p:spPr>
          <a:xfrm>
            <a:off x="5410200" y="2514600"/>
            <a:ext cx="1143000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PO 10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93746157-6FE1-B65C-6BCF-5C37F0910A85}"/>
              </a:ext>
            </a:extLst>
          </p:cNvPr>
          <p:cNvSpPr txBox="1"/>
          <p:nvPr/>
        </p:nvSpPr>
        <p:spPr>
          <a:xfrm>
            <a:off x="5943600" y="2514600"/>
            <a:ext cx="1143000" cy="1461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PO 11</a:t>
            </a:r>
          </a:p>
        </p:txBody>
      </p:sp>
    </p:spTree>
    <p:extLst>
      <p:ext uri="{BB962C8B-B14F-4D97-AF65-F5344CB8AC3E}">
        <p14:creationId xmlns:p14="http://schemas.microsoft.com/office/powerpoint/2010/main" val="1982931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2.22222E-6 L 5E-6 0.10278 " pathEditMode="relative" rAng="0" ptsTypes="AA">
                                      <p:cBhvr>
                                        <p:cTn id="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42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2.22222E-6 L 3.75E-6 0.05833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91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69 L 0.0306 -0.02477 " pathEditMode="relative" ptsTypes="AA">
                                      <p:cBhvr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3 0.00023 L 0.03086 -0.02384 " pathEditMode="relative" rAng="0" ptsTypes="AA">
                                      <p:cBhvr>
                                        <p:cTn id="1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39 -0.00162 L 0.03034 -0.02569 " pathEditMode="relative" rAng="0" ptsTypes="AA">
                                      <p:cBhvr>
                                        <p:cTn id="1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39 -0.00162 L 0.03033 -0.0257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4 -0.00162 L 0.03034 -0.0257 " pathEditMode="relative" rAng="0" ptsTypes="AA">
                                      <p:cBhvr>
                                        <p:cTn id="2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1177E-17 3.7037E-7 L 0.03073 -0.02407 " pathEditMode="relative" rAng="0" ptsTypes="AA">
                                      <p:cBhvr>
                                        <p:cTn id="2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0 L 0.01719 -0.01343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-67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42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1.11111E-6 L 5E-6 0.05 " pathEditMode="relative" rAng="0" ptsTypes="AA">
                                      <p:cBhvr>
                                        <p:cTn id="3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42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1.11111E-6 L 3.75E-6 0.04722 " pathEditMode="relative" rAng="0" ptsTypes="AA">
                                      <p:cBhvr>
                                        <p:cTn id="3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3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500"/>
                            </p:stCondLst>
                            <p:childTnLst>
                              <p:par>
                                <p:cTn id="38" presetID="42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1.11111E-6 L -4.16667E-6 0.06389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0"/>
                            </p:stCondLst>
                            <p:childTnLst>
                              <p:par>
                                <p:cTn id="41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39 -0.00486 L -0.03594 -0.03264 " pathEditMode="relative" ptsTypes="AA">
                                      <p:cBhvr>
                                        <p:cTn id="4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500"/>
                            </p:stCondLst>
                            <p:childTnLst>
                              <p:par>
                                <p:cTn id="44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-3.33333E-6 L -0.03554 -0.02777 " pathEditMode="relative" rAng="0" ptsTypes="AA">
                                      <p:cBhvr>
                                        <p:cTn id="4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7000"/>
                            </p:stCondLst>
                            <p:childTnLst>
                              <p:par>
                                <p:cTn id="47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0 L -0.03554 -0.02778 " pathEditMode="relative" rAng="0" ptsTypes="AA">
                                      <p:cBhvr>
                                        <p:cTn id="4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7500"/>
                            </p:stCondLst>
                            <p:childTnLst>
                              <p:par>
                                <p:cTn id="50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33333E-6 L -0.03554 -0.02778 " pathEditMode="relative" rAng="0" ptsTypes="AA">
                                      <p:cBhvr>
                                        <p:cTn id="51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8000"/>
                            </p:stCondLst>
                            <p:childTnLst>
                              <p:par>
                                <p:cTn id="53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7 L -0.03554 -0.02778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8500"/>
                            </p:stCondLst>
                            <p:childTnLst>
                              <p:par>
                                <p:cTn id="56" presetID="0" presetClass="path" presetSubtype="0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07407E-6 L -0.02187 -0.01574 " pathEditMode="relative" rAng="0" ptsTypes="AA">
                                      <p:cBhvr>
                                        <p:cTn id="5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94" y="-78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2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112E-17 1.11111E-6 L 5.55112E-17 0.0625 " pathEditMode="relative" rAng="0" ptsTypes="AA">
                                      <p:cBhvr>
                                        <p:cTn id="6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25"/>
                                    </p:animMotion>
                                  </p:childTnLst>
                                </p:cTn>
                              </p:par>
                              <p:par>
                                <p:cTn id="62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3.33333E-6 L -2.70833E-6 0.0625 " pathEditMode="relative" rAng="0" ptsTypes="AA">
                                      <p:cBhvr>
                                        <p:cTn id="63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25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63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-4.07407E-6 L 0.03555 -0.00115 " pathEditMode="relative" rAng="0" ptsTypes="AA">
                                      <p:cBhvr>
                                        <p:cTn id="6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71" y="-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35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-4.07407E-6 L -0.0569 -0.00115 " pathEditMode="relative" rAng="0" ptsTypes="AA">
                                      <p:cBhvr>
                                        <p:cTn id="6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52" y="-69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4.81481E-6 L -0.00104 -0.08703 " pathEditMode="relative" rAng="0" ptsTypes="AA">
                                      <p:cBhvr>
                                        <p:cTn id="7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4352"/>
                                    </p:animMotion>
                                  </p:childTnLst>
                                </p:cTn>
                              </p:par>
                              <p:par>
                                <p:cTn id="72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1.11111E-6 L -0.00104 -0.08704 " pathEditMode="relative" rAng="0" ptsTypes="AA">
                                      <p:cBhvr>
                                        <p:cTn id="7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4352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1.11111E-6 L -0.00104 -0.08704 " pathEditMode="relative" rAng="0" ptsTypes="AA">
                                      <p:cBhvr>
                                        <p:cTn id="75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4352"/>
                                    </p:animMotion>
                                  </p:childTnLst>
                                </p:cTn>
                              </p:par>
                              <p:par>
                                <p:cTn id="76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2.96296E-6 L 0.00156 -0.09607 " pathEditMode="relative" rAng="0" ptsTypes="AA">
                                      <p:cBhvr>
                                        <p:cTn id="7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" y="-48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63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3.7037E-6 L 0.02813 0.00047 " pathEditMode="relative" rAng="0" ptsTypes="AA">
                                      <p:cBhvr>
                                        <p:cTn id="8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06" y="23"/>
                                    </p:animMotion>
                                  </p:childTnLst>
                                </p:cTn>
                              </p:par>
                              <p:par>
                                <p:cTn id="82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2.96296E-6 L -0.00104 -0.06296 " pathEditMode="relative" rAng="0" ptsTypes="AA">
                                      <p:cBhvr>
                                        <p:cTn id="83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3148"/>
                                    </p:animMotion>
                                  </p:childTnLst>
                                </p:cTn>
                              </p:par>
                              <p:par>
                                <p:cTn id="84" presetID="64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44444E-6 L -0.00221 -0.09097 " pathEditMode="relative" rAng="0" ptsTypes="AA">
                                      <p:cBhvr>
                                        <p:cTn id="85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3611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7 1.11111E-6 L 0.00026 0.10694 " pathEditMode="relative" rAng="0" ptsTypes="AA">
                                      <p:cBhvr>
                                        <p:cTn id="87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534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42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2.22222E-6 L 0.00026 0.10694 " pathEditMode="relative" rAng="0" ptsTypes="AA">
                                      <p:cBhvr>
                                        <p:cTn id="91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5347"/>
                                    </p:animMotion>
                                  </p:childTnLst>
                                </p:cTn>
                              </p:par>
                              <p:par>
                                <p:cTn id="92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4.44444E-6 L 0.00026 0.10695 " pathEditMode="relative" rAng="0" ptsTypes="AA">
                                      <p:cBhvr>
                                        <p:cTn id="93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5347"/>
                                    </p:animMotion>
                                  </p:childTnLst>
                                </p:cTn>
                              </p:par>
                              <p:par>
                                <p:cTn id="94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-1.11111E-6 L 1.11022E-16 0.03056 " pathEditMode="relative" rAng="0" ptsTypes="AA">
                                      <p:cBhvr>
                                        <p:cTn id="95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28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35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0.05556 L -0.05937 -0.05 " pathEditMode="relative" rAng="0" ptsTypes="AA">
                                      <p:cBhvr>
                                        <p:cTn id="97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969" y="2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42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1.11111E-6 L 0.00052 0.07222 " pathEditMode="relative" rAng="0" ptsTypes="AA">
                                      <p:cBhvr>
                                        <p:cTn id="10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3611"/>
                                    </p:animMotion>
                                  </p:childTnLst>
                                </p:cTn>
                              </p:par>
                              <p:par>
                                <p:cTn id="102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112E-17 -3.33333E-6 L 0.00052 0.07223 " pathEditMode="relative" rAng="0" ptsTypes="AA">
                                      <p:cBhvr>
                                        <p:cTn id="10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3611"/>
                                    </p:animMotion>
                                  </p:childTnLst>
                                </p:cTn>
                              </p:par>
                              <p:par>
                                <p:cTn id="104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69 L 0.0306 -0.02477 " pathEditMode="relative" rAng="0" ptsTypes="AA">
                                      <p:cBhvr>
                                        <p:cTn id="10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69 L 0.0306 -0.02477 " pathEditMode="relative" rAng="0" ptsTypes="AA">
                                      <p:cBhvr>
                                        <p:cTn id="10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  <p:par>
                                <p:cTn id="108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69 L 0.0306 -0.02477 " pathEditMode="relative" rAng="0" ptsTypes="AA">
                                      <p:cBhvr>
                                        <p:cTn id="10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  <p:par>
                                <p:cTn id="110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7 L 0.0306 -0.02477 " pathEditMode="relative" rAng="0" ptsTypes="AA">
                                      <p:cBhvr>
                                        <p:cTn id="1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6" y="-1204"/>
                                    </p:animMotion>
                                  </p:childTnLst>
                                </p:cTn>
                              </p:par>
                              <p:par>
                                <p:cTn id="112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7 L 0.03086 -0.01273 " pathEditMode="relative" rAng="0" ptsTypes="AA">
                                      <p:cBhvr>
                                        <p:cTn id="11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19" y="-810"/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7 L 0.03086 -0.01274 " pathEditMode="relative" rAng="0" ptsTypes="AA">
                                      <p:cBhvr>
                                        <p:cTn id="11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49" y="-602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69 L 0.03086 -0.01273 " pathEditMode="relative" rAng="0" ptsTypes="AA">
                                      <p:cBhvr>
                                        <p:cTn id="11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49" y="-602"/>
                                    </p:animMotion>
                                  </p:childTnLst>
                                </p:cTn>
                              </p:par>
                              <p:par>
                                <p:cTn id="118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-0.00069 L 0.03086 -0.01273 " pathEditMode="relative" rAng="0" ptsTypes="AA">
                                      <p:cBhvr>
                                        <p:cTn id="11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49" y="-602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07407E-6 L 8.33333E-7 0.06389 " pathEditMode="relative" rAng="0" ptsTypes="AA">
                                      <p:cBhvr>
                                        <p:cTn id="12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94"/>
                                    </p:animMotion>
                                  </p:childTnLst>
                                </p:cTn>
                              </p:par>
                              <p:par>
                                <p:cTn id="122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7.40741E-7 L -8.33333E-7 0.06389 " pathEditMode="relative" rAng="0" ptsTypes="AA">
                                      <p:cBhvr>
                                        <p:cTn id="123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94"/>
                                    </p:animMotion>
                                  </p:childTnLst>
                                </p:cTn>
                              </p:par>
                              <p:par>
                                <p:cTn id="124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4.07407E-6 L -0.03555 -0.02778 " pathEditMode="relative" rAng="0" ptsTypes="AA">
                                      <p:cBhvr>
                                        <p:cTn id="12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  <p:par>
                                <p:cTn id="126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3.7037E-7 L -0.03554 -0.02778 " pathEditMode="relative" rAng="0" ptsTypes="AA">
                                      <p:cBhvr>
                                        <p:cTn id="12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  <p:par>
                                <p:cTn id="128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3.7037E-7 L -0.03554 -0.02778 " pathEditMode="relative" rAng="0" ptsTypes="AA">
                                      <p:cBhvr>
                                        <p:cTn id="129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  <p:par>
                                <p:cTn id="130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3.7037E-7 L -0.03554 -0.02778 " pathEditMode="relative" rAng="0" ptsTypes="AA">
                                      <p:cBhvr>
                                        <p:cTn id="131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  <p:par>
                                <p:cTn id="132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3.7037E-7 L -0.03554 -0.02778 " pathEditMode="relative" rAng="0" ptsTypes="AA">
                                      <p:cBhvr>
                                        <p:cTn id="13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  <p:par>
                                <p:cTn id="134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3.7037E-7 L -0.03554 -0.02778 " pathEditMode="relative" rAng="0" ptsTypes="AA">
                                      <p:cBhvr>
                                        <p:cTn id="135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  <p:par>
                                <p:cTn id="136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3.7037E-7 L -0.03554 -0.02778 " pathEditMode="relative" rAng="0" ptsTypes="AA">
                                      <p:cBhvr>
                                        <p:cTn id="137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4" y="-13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18" grpId="0" animBg="1"/>
      <p:bldP spid="20" grpId="0" animBg="1"/>
      <p:bldP spid="21" grpId="0" animBg="1"/>
      <p:bldP spid="22" grpId="0" animBg="1"/>
      <p:bldP spid="31" grpId="0" animBg="1"/>
      <p:bldP spid="51" grpId="0" animBg="1"/>
      <p:bldP spid="53" grpId="0" animBg="1"/>
      <p:bldP spid="54" grpId="0" animBg="1"/>
      <p:bldP spid="55" grpId="0" animBg="1"/>
      <p:bldP spid="56" grpId="0" animBg="1"/>
      <p:bldP spid="58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6" grpId="0" animBg="1"/>
      <p:bldP spid="67" grpId="0" animBg="1"/>
      <p:bldP spid="68" grpId="0" animBg="1"/>
      <p:bldP spid="70" grpId="0" animBg="1"/>
      <p:bldP spid="71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9" grpId="0" animBg="1"/>
      <p:bldP spid="80" grpId="0" animBg="1"/>
      <p:bldP spid="81" grpId="0" animBg="1"/>
      <p:bldP spid="82" grpId="0" animBg="1"/>
      <p:bldP spid="83" grpId="0" animBg="1"/>
      <p:bldP spid="84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7" grpId="0" animBg="1"/>
      <p:bldP spid="59" grpId="0" animBg="1"/>
      <p:bldP spid="72" grpId="0" animBg="1"/>
      <p:bldP spid="78" grpId="0" animBg="1"/>
      <p:bldP spid="85" grpId="0" animBg="1"/>
      <p:bldP spid="86" grpId="0" animBg="1"/>
      <p:bldP spid="87" grpId="0" animBg="1"/>
      <p:bldP spid="88" grpId="0" animBg="1"/>
      <p:bldP spid="8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7199D-24E9-6317-01A7-038A69C7DF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d Term Solution 1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1D5BEF-6E74-4C35-1BEE-E7DC0A3BB4A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fld id="{C14CD3A7-9E40-46FB-A41D-9CC29415685D}" type="datetime4">
              <a:rPr lang="en-US" smtClean="0"/>
              <a:pPr>
                <a:lnSpc>
                  <a:spcPct val="110000"/>
                </a:lnSpc>
                <a:spcAft>
                  <a:spcPts val="0"/>
                </a:spcAft>
              </a:pPr>
              <a:t>March 25,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F48D32-964F-74AE-4ED9-D2FD7464C738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en-US"/>
              <a:t>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53DF4C-B840-7CAB-0A80-BEADC7354F8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>
              <a:lnSpc>
                <a:spcPct val="110000"/>
              </a:lnSpc>
              <a:spcAft>
                <a:spcPts val="0"/>
              </a:spcAft>
            </a:pPr>
            <a:r>
              <a:rPr lang="en-US"/>
              <a:t>Page </a:t>
            </a:r>
            <a:fld id="{A2218858-49EA-4BF8-8EFE-B88A4580565A}" type="slidenum">
              <a:rPr smtClean="0"/>
              <a:pPr algn="r">
                <a:lnSpc>
                  <a:spcPct val="110000"/>
                </a:lnSpc>
                <a:spcAft>
                  <a:spcPts val="0"/>
                </a:spcAft>
              </a:pPr>
              <a:t>9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60C4A0-410E-A088-8BEC-46F30B23AD5E}"/>
              </a:ext>
            </a:extLst>
          </p:cNvPr>
          <p:cNvSpPr txBox="1"/>
          <p:nvPr/>
        </p:nvSpPr>
        <p:spPr>
          <a:xfrm>
            <a:off x="1828800" y="2057400"/>
            <a:ext cx="3513782" cy="85408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This will not solve the VLAN count issue 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The Current MCP will be shared between the PO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This will help in cutting down the MCP to half between the PO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endParaRPr lang="en-US" sz="10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112C288-563E-9372-86B0-A0CA466EB981}"/>
              </a:ext>
            </a:extLst>
          </p:cNvPr>
          <p:cNvCxnSpPr>
            <a:cxnSpLocks/>
          </p:cNvCxnSpPr>
          <p:nvPr/>
        </p:nvCxnSpPr>
        <p:spPr>
          <a:xfrm>
            <a:off x="5791200" y="1371600"/>
            <a:ext cx="0" cy="2895600"/>
          </a:xfrm>
          <a:prstGeom prst="line">
            <a:avLst/>
          </a:prstGeom>
          <a:noFill/>
          <a:ln w="28575" cap="flat" cmpd="sng" algn="ctr">
            <a:solidFill>
              <a:srgbClr val="0F238D"/>
            </a:solidFill>
            <a:prstDash val="soli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DF3EC63-6582-4F8F-6039-B6F3141CC11B}"/>
              </a:ext>
            </a:extLst>
          </p:cNvPr>
          <p:cNvCxnSpPr>
            <a:cxnSpLocks/>
          </p:cNvCxnSpPr>
          <p:nvPr/>
        </p:nvCxnSpPr>
        <p:spPr>
          <a:xfrm>
            <a:off x="3505200" y="4495800"/>
            <a:ext cx="4343400" cy="0"/>
          </a:xfrm>
          <a:prstGeom prst="line">
            <a:avLst/>
          </a:prstGeom>
          <a:noFill/>
          <a:ln w="28575" cap="flat" cmpd="sng" algn="ctr">
            <a:solidFill>
              <a:srgbClr val="0F238D"/>
            </a:solidFill>
            <a:prstDash val="solid"/>
          </a:ln>
          <a:effectLst/>
        </p:spPr>
      </p:cxnSp>
      <p:sp>
        <p:nvSpPr>
          <p:cNvPr id="12" name="Rounded Rectangle 95">
            <a:extLst>
              <a:ext uri="{FF2B5EF4-FFF2-40B4-BE49-F238E27FC236}">
                <a16:creationId xmlns:a16="http://schemas.microsoft.com/office/drawing/2014/main" id="{64218825-C9A5-3550-33F5-152E9B2279C6}"/>
              </a:ext>
            </a:extLst>
          </p:cNvPr>
          <p:cNvSpPr/>
          <p:nvPr/>
        </p:nvSpPr>
        <p:spPr>
          <a:xfrm>
            <a:off x="1676400" y="1447800"/>
            <a:ext cx="3478106" cy="381000"/>
          </a:xfrm>
          <a:prstGeom prst="round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iscoSansTT ExtraLight"/>
              </a:rPr>
              <a:t>Pros</a:t>
            </a:r>
          </a:p>
        </p:txBody>
      </p:sp>
      <p:sp>
        <p:nvSpPr>
          <p:cNvPr id="14" name="Rounded Rectangle 95">
            <a:extLst>
              <a:ext uri="{FF2B5EF4-FFF2-40B4-BE49-F238E27FC236}">
                <a16:creationId xmlns:a16="http://schemas.microsoft.com/office/drawing/2014/main" id="{E2EC78CF-29D9-6F87-5EE6-238CF8CB1A08}"/>
              </a:ext>
            </a:extLst>
          </p:cNvPr>
          <p:cNvSpPr/>
          <p:nvPr/>
        </p:nvSpPr>
        <p:spPr>
          <a:xfrm>
            <a:off x="7315200" y="1371600"/>
            <a:ext cx="3478106" cy="381000"/>
          </a:xfrm>
          <a:prstGeom prst="round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iscoSansTT ExtraLight"/>
              </a:rPr>
              <a:t>Cons</a:t>
            </a:r>
          </a:p>
        </p:txBody>
      </p:sp>
      <p:sp>
        <p:nvSpPr>
          <p:cNvPr id="15" name="Rounded Rectangle 95">
            <a:extLst>
              <a:ext uri="{FF2B5EF4-FFF2-40B4-BE49-F238E27FC236}">
                <a16:creationId xmlns:a16="http://schemas.microsoft.com/office/drawing/2014/main" id="{426A8559-616C-8186-0653-7CE630C2836F}"/>
              </a:ext>
            </a:extLst>
          </p:cNvPr>
          <p:cNvSpPr/>
          <p:nvPr/>
        </p:nvSpPr>
        <p:spPr>
          <a:xfrm>
            <a:off x="4038600" y="4648200"/>
            <a:ext cx="3478106" cy="381000"/>
          </a:xfrm>
          <a:prstGeom prst="round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iscoSansTT ExtraLight"/>
              </a:rPr>
              <a:t>Effor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F7ABB0-2E91-AF6D-9CBE-65A8E062A3FB}"/>
              </a:ext>
            </a:extLst>
          </p:cNvPr>
          <p:cNvSpPr txBox="1"/>
          <p:nvPr/>
        </p:nvSpPr>
        <p:spPr>
          <a:xfrm>
            <a:off x="6111809" y="1905000"/>
            <a:ext cx="6080191" cy="274177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We need to identify the free ports in FI , Leaf Switch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We need to segregate the DTAP VLAN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We need to involve the DC team to check the feasibility of the cable connectivity ( in case of Different rack )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We need to check the SFP modules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We need to change the UCS  PO config  ( very carefully or else lead to outage )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We need to introduce the new VLAN group, LAN pin Group and change in the service profile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We need to create a new </a:t>
            </a:r>
            <a:r>
              <a:rPr lang="en-US" sz="1000" dirty="0" err="1"/>
              <a:t>vNIC</a:t>
            </a:r>
            <a:r>
              <a:rPr lang="en-US" sz="1000" dirty="0"/>
              <a:t> template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We need to do the changes in the ACI config ( VPC ) 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endParaRPr lang="en-US" sz="1000" dirty="0"/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b="1" dirty="0"/>
              <a:t>Workload cannot be migrated to all the blades in the Flexpod </a:t>
            </a:r>
            <a:r>
              <a:rPr lang="en-US" sz="1000" dirty="0"/>
              <a:t>( as we are segregating the VLAN  )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Unknown migration will lead to network disconnect of the VM  </a:t>
            </a:r>
          </a:p>
          <a:p>
            <a:pPr algn="l" defTabSz="374400">
              <a:lnSpc>
                <a:spcPct val="95000"/>
              </a:lnSpc>
              <a:spcAft>
                <a:spcPts val="737"/>
              </a:spcAft>
            </a:pPr>
            <a:endParaRPr lang="en-US" sz="10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3701D7A-FA6B-A357-CE8C-6C465FE5B5CA}"/>
              </a:ext>
            </a:extLst>
          </p:cNvPr>
          <p:cNvSpPr txBox="1"/>
          <p:nvPr/>
        </p:nvSpPr>
        <p:spPr>
          <a:xfrm>
            <a:off x="4114800" y="5334000"/>
            <a:ext cx="3847207" cy="1461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 defTabSz="374400">
              <a:lnSpc>
                <a:spcPct val="95000"/>
              </a:lnSpc>
              <a:spcAft>
                <a:spcPts val="737"/>
              </a:spcAft>
            </a:pPr>
            <a:r>
              <a:rPr lang="en-US" sz="1000" dirty="0"/>
              <a:t>Considering the above we would recommend this to go as a </a:t>
            </a:r>
            <a:r>
              <a:rPr lang="en-US" sz="1000" b="1" dirty="0"/>
              <a:t>Project</a:t>
            </a:r>
            <a:r>
              <a:rPr lang="en-US" sz="1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93400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2" grpId="0" animBg="1"/>
      <p:bldP spid="14" grpId="0" animBg="1"/>
      <p:bldP spid="15" grpId="0" animBg="1"/>
      <p:bldP spid="16" grpId="0"/>
      <p:bldP spid="1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/////wQAJww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QAAAACABAACxsKfB5eh8NEpV+F1ZCrp4YFAAAAAAADAAAAAAADAAAAAwADAAAAAAD///////8DAAAAAAD///////8DAAAAAAD///////8DAAEA////////BAAAAAMAEAALtWiF7pGThUi/wwr0b4KTo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sKfB5eh8NEpV+F1ZCrp4YDRGF0YQAbAAAABExpbmtlZFNoYXBlRGF0YQAFAAAAAAACTmFtZQAZAAAATGlua2VkU2hhcGVzRGF0YVByb3BlcnR5ABBWZXJzaW9uAAAAAAAJTGFzdFdyaXRlAHjprNF6AQAAAAEA/////50AnQAAAAVfaWQAEAAAAAS1aIXukZOFSL/DCvRvgpOiA0RhdGEAKgAAAAhQcmVzZW50YXRpb25TY2FubmVkRm9yTGlua2VkU2hhcGVzAAEAAk5hbWUAJAAAAExpbmtlZFNoYXBlUHJlc2VudGF0aW9uU2V0dGluZ3NEYXRhABBWZXJzaW9uAAAAAAAJTGFzdFdyaXRlAK7prNF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COAUTHORING_SESSION_ID" val="a0816322-0148-42d8-b738-2e9d88c75492"/>
  <p:tag name="UNDO_REDO_REVISION" val="232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TEXT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Grid Support;"/>
  <p:tag name="MIO_USER_INPUT_OPTIONAL" val=" "/>
  <p:tag name="MIO_USER_INPUT_FIXED" val="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01bf71b-ffc9-43c9-b0b7-cc5680e30b67"/>
  <p:tag name="MIO_UPDATE" val="True"/>
  <p:tag name="MIO_OBJECTNAME" val="ASML Master"/>
  <p:tag name="MIO_FALLBACK_LAYOUT" val="27"/>
  <p:tag name="MIO_SHOW_DATE" val="True"/>
  <p:tag name="MIO_SHOW_FOOTER" val="True"/>
  <p:tag name="MIO_SHOW_PAGENUMBER" val="True"/>
  <p:tag name="MIO_AVOID_BLANK_LAYOUT" val="False"/>
  <p:tag name="MIO_CD_LAYOUT_VALID_AREA" val="False"/>
  <p:tag name="MIO_EMBED_FONT" val="False"/>
  <p:tag name="MIO_MATCH_COLOR_SCHEME" val="True"/>
  <p:tag name="MIO_NUMBER_OF_VALID_LAYOUTS" val="29"/>
  <p:tag name="MIO_DBID" val="0F45B44C-9BC7-4D85-81C4-7155EE70A7B9"/>
  <p:tag name="MIO_VERSION" val="02.03.2023 17:39:23"/>
  <p:tag name="MIO_LASTDOWNLOADED" val="26.02.2024 11:25:36.519"/>
  <p:tag name="MIO_CDID" val="531547a1-6921-4a73-8514-e2d26a6e33a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ctivate presentation support;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how contact icons on closing slide(s);"/>
  <p:tag name="MIO_USER_INPUT_OPTIONAL" val=" "/>
  <p:tag name="MIO_USER_INPUT_FIXED" val=" "/>
</p:tagLst>
</file>

<file path=ppt/theme/theme1.xml><?xml version="1.0" encoding="utf-8"?>
<a:theme xmlns:a="http://schemas.openxmlformats.org/drawingml/2006/main" name="ASML Template 2021">
  <a:themeElements>
    <a:clrScheme name="ASML Template">
      <a:dk1>
        <a:srgbClr val="000000"/>
      </a:dk1>
      <a:lt1>
        <a:srgbClr val="FFFFFF"/>
      </a:lt1>
      <a:dk2>
        <a:srgbClr val="00A3E0"/>
      </a:dk2>
      <a:lt2>
        <a:srgbClr val="E0E1E3"/>
      </a:lt2>
      <a:accent1>
        <a:srgbClr val="10069F"/>
      </a:accent1>
      <a:accent2>
        <a:srgbClr val="5A5B5E"/>
      </a:accent2>
      <a:accent3>
        <a:srgbClr val="FF6A13"/>
      </a:accent3>
      <a:accent4>
        <a:srgbClr val="43B02A"/>
      </a:accent4>
      <a:accent5>
        <a:srgbClr val="FFD100"/>
      </a:accent5>
      <a:accent6>
        <a:srgbClr val="8031A7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ASML Template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1"/>
        </a:solidFill>
        <a:solidFill>
          <a:schemeClr val="accent2"/>
        </a:solidFill>
      </a:bgFillStyleLst>
    </a:fmtScheme>
  </a:themeElements>
  <a:objectDefaults>
    <a:spDef>
      <a:spPr/>
      <a:bodyPr/>
      <a:lstStyle/>
      <a:style>
        <a:lnRef idx="2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algn="l" defTabSz="374400">
          <a:lnSpc>
            <a:spcPct val="95000"/>
          </a:lnSpc>
          <a:spcAft>
            <a:spcPts val="737"/>
          </a:spcAft>
          <a:defRPr sz="1600" dirty="0"/>
        </a:defPPr>
        <a:lvl1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1pPr>
        <a:lvl2pPr marL="0" indent="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Tx/>
          <a:buNone/>
          <a:defRPr sz="1600" b="1" kern="1200" baseline="0">
            <a:solidFill>
              <a:schemeClr val="tx1"/>
            </a:solidFill>
            <a:latin typeface="+mn-lt"/>
            <a:ea typeface="+mn-ea"/>
            <a:cs typeface="+mn-cs"/>
          </a:defRPr>
        </a:lvl2pPr>
        <a:lvl3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SzPct val="110000"/>
          <a:buFont typeface="Arial" panose="020B0604020202020204" pitchFamily="34" charset="0"/>
          <a:buChar char="•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3pPr>
        <a:lvl4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SzPct val="100000"/>
          <a:buFont typeface="Arial" panose="020B0604020202020204" pitchFamily="34" charset="0"/>
          <a:buChar char="•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4pPr>
        <a:lvl5pPr marL="702000" indent="-23400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SzPct val="90000"/>
          <a:buFont typeface="Arial" panose="020B0604020202020204" pitchFamily="34" charset="0"/>
          <a:buChar char="•"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5pPr>
        <a:lvl6pPr marL="234000" indent="-234000" algn="l" defTabSz="374400" rtl="0" eaLnBrk="1" latinLnBrk="0" hangingPunct="1">
          <a:lnSpc>
            <a:spcPct val="95000"/>
          </a:lnSpc>
          <a:spcBef>
            <a:spcPts val="369"/>
          </a:spcBef>
          <a:spcAft>
            <a:spcPts val="369"/>
          </a:spcAft>
          <a:buFont typeface="+mj-lt"/>
          <a:buAutoNum type="arabicPeriod"/>
          <a:defRPr sz="1600" kern="1200" baseline="0">
            <a:solidFill>
              <a:schemeClr val="tx1"/>
            </a:solidFill>
            <a:latin typeface="+mn-lt"/>
            <a:ea typeface="+mn-ea"/>
            <a:cs typeface="+mn-cs"/>
          </a:defRPr>
        </a:lvl6pPr>
        <a:lvl7pPr marL="468000" indent="-23400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 typeface="+mj-lt"/>
          <a:buAutoNum type="romanLcPeriod"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7pPr>
        <a:lvl8pPr marL="0" indent="0" algn="l" defTabSz="374400" rtl="0" eaLnBrk="1" latinLnBrk="0" hangingPunct="1">
          <a:lnSpc>
            <a:spcPct val="105000"/>
          </a:lnSpc>
          <a:spcBef>
            <a:spcPts val="200"/>
          </a:spcBef>
          <a:spcAft>
            <a:spcPts val="200"/>
          </a:spcAft>
          <a:buFontTx/>
          <a:buNone/>
          <a:defRPr sz="1200" kern="1200" baseline="0">
            <a:solidFill>
              <a:schemeClr val="tx1"/>
            </a:solidFill>
            <a:latin typeface="+mn-lt"/>
            <a:ea typeface="+mn-ea"/>
            <a:cs typeface="+mn-cs"/>
          </a:defRPr>
        </a:lvl8pPr>
        <a:lvl9pPr marL="0" indent="0" algn="l" defTabSz="374400" rtl="0" eaLnBrk="1" latinLnBrk="0" hangingPunct="1">
          <a:lnSpc>
            <a:spcPct val="110000"/>
          </a:lnSpc>
          <a:spcBef>
            <a:spcPts val="0"/>
          </a:spcBef>
          <a:spcAft>
            <a:spcPts val="0"/>
          </a:spcAft>
          <a:buFontTx/>
          <a:buNone/>
          <a:defRPr sz="1000" kern="1200" baseline="0">
            <a:solidFill>
              <a:schemeClr val="tx1"/>
            </a:solidFill>
            <a:latin typeface="+mn-lt"/>
            <a:ea typeface="+mn-ea"/>
            <a:cs typeface="+mn-cs"/>
          </a:defRPr>
        </a:lvl9pPr>
      </a:lstStyle>
    </a:txDef>
  </a:objectDefaults>
  <a:extraClrSchemeLst/>
  <a:custClrLst>
    <a:custClr name="ASML Blue">
      <a:srgbClr val="10069F"/>
    </a:custClr>
    <a:custClr name="ASML Light Blue">
      <a:srgbClr val="00A3E0"/>
    </a:custClr>
    <a:custClr name="ASML Teal">
      <a:srgbClr val="00BFB3"/>
    </a:custClr>
    <a:custClr name="ASML Green">
      <a:srgbClr val="43B02A"/>
    </a:custClr>
    <a:custClr name="ASML Light Green">
      <a:srgbClr val="C4D600"/>
    </a:custClr>
    <a:custClr name="ASML Yellow">
      <a:srgbClr val="FFD100"/>
    </a:custClr>
    <a:custClr name="ASML Orange">
      <a:srgbClr val="FF6A13"/>
    </a:custClr>
    <a:custClr name="ASML Red">
      <a:srgbClr val="F00000"/>
    </a:custClr>
    <a:custClr name="ASML Magenta">
      <a:srgbClr val="DF1995"/>
    </a:custClr>
    <a:custClr name="ASML Violet">
      <a:srgbClr val="8031A7"/>
    </a:custClr>
    <a:custClr name="ASML Blue">
      <a:srgbClr val="10069F"/>
    </a:custClr>
    <a:custClr name="ASML Light Blue -30">
      <a:srgbClr val="50C0E6"/>
    </a:custClr>
    <a:custClr name="ASML Teal -30">
      <a:srgbClr val="55D1C9"/>
    </a:custClr>
    <a:custClr name="ASML Green -30">
      <a:srgbClr val="80C572"/>
    </a:custClr>
    <a:custClr name="ASML Light Green -30">
      <a:srgbClr val="D8DF60"/>
    </a:custClr>
    <a:custClr name="ASML Yellow -30">
      <a:srgbClr val="FEDC61"/>
    </a:custClr>
    <a:custClr name="ASML Orange -30">
      <a:srgbClr val="FD8B57"/>
    </a:custClr>
    <a:custClr name="ASML Red -30">
      <a:srgbClr val="F25052"/>
    </a:custClr>
    <a:custClr name="ASML Magenta -30">
      <a:srgbClr val="E565B3"/>
    </a:custClr>
    <a:custClr name="ASML Violet -30">
      <a:srgbClr val="A473BE"/>
    </a:custClr>
    <a:custClr name="ASML Blue">
      <a:srgbClr val="10069F"/>
    </a:custClr>
    <a:custClr name="ASML Light Blue +30">
      <a:srgbClr val="0089B7"/>
    </a:custClr>
    <a:custClr name="ASML Teal +30">
      <a:srgbClr val="199D97"/>
    </a:custClr>
    <a:custClr name="ASML Green +30">
      <a:srgbClr val="1D8E29"/>
    </a:custClr>
    <a:custClr name="ASML Light Green +30">
      <a:srgbClr val="9FAE38"/>
    </a:custClr>
    <a:custClr name="ASML Yellow +30">
      <a:srgbClr val="D0AD23"/>
    </a:custClr>
    <a:custClr name="ASML Orange +30">
      <a:srgbClr val="D04A1E"/>
    </a:custClr>
    <a:custClr name="ASML Red +30">
      <a:srgbClr val="C50E16"/>
    </a:custClr>
    <a:custClr name="ASML Magenta +30">
      <a:srgbClr val="BA1B7B"/>
    </a:custClr>
    <a:custClr name="ASML Violet +30">
      <a:srgbClr val="6B2C89"/>
    </a:custClr>
  </a:custClrLst>
  <a:extLst>
    <a:ext uri="{05A4C25C-085E-4340-85A3-A5531E510DB2}">
      <thm15:themeFamily xmlns:thm15="http://schemas.microsoft.com/office/thememl/2012/main" name="Default Theme.pptx" id="{4A0E47B9-DC7F-4D92-B32E-5226459EF264}" vid="{F4C1CF26-2336-4FA8-BCE3-55C4F4E2EE4F}"/>
    </a:ext>
  </a:extLst>
</a:theme>
</file>

<file path=ppt/theme/theme2.xml><?xml version="1.0" encoding="utf-8"?>
<a:theme xmlns:a="http://schemas.openxmlformats.org/drawingml/2006/main" name="Office Theme">
  <a:themeElements>
    <a:clrScheme name="ASML Template">
      <a:dk1>
        <a:srgbClr val="000000"/>
      </a:dk1>
      <a:lt1>
        <a:srgbClr val="FFFFFF"/>
      </a:lt1>
      <a:dk2>
        <a:srgbClr val="5A5B5E"/>
      </a:dk2>
      <a:lt2>
        <a:srgbClr val="E0E1E3"/>
      </a:lt2>
      <a:accent1>
        <a:srgbClr val="10069F"/>
      </a:accent1>
      <a:accent2>
        <a:srgbClr val="00A3E0"/>
      </a:accent2>
      <a:accent3>
        <a:srgbClr val="00BFB3"/>
      </a:accent3>
      <a:accent4>
        <a:srgbClr val="8031A7"/>
      </a:accent4>
      <a:accent5>
        <a:srgbClr val="43B02A"/>
      </a:accent5>
      <a:accent6>
        <a:srgbClr val="DF1995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SML Template">
      <a:dk1>
        <a:srgbClr val="000000"/>
      </a:dk1>
      <a:lt1>
        <a:srgbClr val="FFFFFF"/>
      </a:lt1>
      <a:dk2>
        <a:srgbClr val="5A5B5E"/>
      </a:dk2>
      <a:lt2>
        <a:srgbClr val="E0E1E3"/>
      </a:lt2>
      <a:accent1>
        <a:srgbClr val="10069F"/>
      </a:accent1>
      <a:accent2>
        <a:srgbClr val="00A3E0"/>
      </a:accent2>
      <a:accent3>
        <a:srgbClr val="00BFB3"/>
      </a:accent3>
      <a:accent4>
        <a:srgbClr val="8031A7"/>
      </a:accent4>
      <a:accent5>
        <a:srgbClr val="43B02A"/>
      </a:accent5>
      <a:accent6>
        <a:srgbClr val="DF1995"/>
      </a:accent6>
      <a:hlink>
        <a:srgbClr val="00A3E0"/>
      </a:hlink>
      <a:folHlink>
        <a:srgbClr val="00A3E0"/>
      </a:folHlink>
    </a:clrScheme>
    <a:fontScheme name="ASML Template">
      <a:majorFont>
        <a:latin typeface="Arial"/>
        <a:ea typeface="Microsoft JhengHei"/>
        <a:cs typeface="Arial"/>
      </a:majorFont>
      <a:minorFont>
        <a:latin typeface="Arial"/>
        <a:ea typeface="Microsoft JhengHei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ppt/theme/themeOverride3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00A3E0"/>
    </a:dk2>
    <a:lt2>
      <a:srgbClr val="E0E1E3"/>
    </a:lt2>
    <a:accent1>
      <a:srgbClr val="10069F"/>
    </a:accent1>
    <a:accent2>
      <a:srgbClr val="5A5B5E"/>
    </a:accent2>
    <a:accent3>
      <a:srgbClr val="FF6A13"/>
    </a:accent3>
    <a:accent4>
      <a:srgbClr val="43B02A"/>
    </a:accent4>
    <a:accent5>
      <a:srgbClr val="FFD100"/>
    </a:accent5>
    <a:accent6>
      <a:srgbClr val="8031A7"/>
    </a:accent6>
    <a:hlink>
      <a:srgbClr val="00A3E0"/>
    </a:hlink>
    <a:folHlink>
      <a:srgbClr val="00A3E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9bb7800a-9dd4-4efa-9404-7ac564e64633" ContentTypeId="0x0101" PreviousValue="false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65c44e8-82e0-472a-a146-da60c58e68e1" xsi:nil="true"/>
    <h299cf7589dc4b75bcd2bf9f19243c76 xmlns="665c44e8-82e0-472a-a146-da60c58e68e1">
      <Terms xmlns="http://schemas.microsoft.com/office/infopath/2007/PartnerControls"/>
    </h299cf7589dc4b75bcd2bf9f19243c76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4E30EF25F66C4C959BBFBFD5F6CDFF" ma:contentTypeVersion="4" ma:contentTypeDescription="Create a new document." ma:contentTypeScope="" ma:versionID="8c8d2a293182417ba903838f304e3b3b">
  <xsd:schema xmlns:xsd="http://www.w3.org/2001/XMLSchema" xmlns:xs="http://www.w3.org/2001/XMLSchema" xmlns:p="http://schemas.microsoft.com/office/2006/metadata/properties" xmlns:ns2="665c44e8-82e0-472a-a146-da60c58e68e1" xmlns:ns3="b34eedfc-73f5-4c56-9ed0-8189ca2f8c38" targetNamespace="http://schemas.microsoft.com/office/2006/metadata/properties" ma:root="true" ma:fieldsID="e8a2c615f0d7daa1ac12553b61665d77" ns2:_="" ns3:_="">
    <xsd:import namespace="665c44e8-82e0-472a-a146-da60c58e68e1"/>
    <xsd:import namespace="b34eedfc-73f5-4c56-9ed0-8189ca2f8c38"/>
    <xsd:element name="properties">
      <xsd:complexType>
        <xsd:sequence>
          <xsd:element name="documentManagement">
            <xsd:complexType>
              <xsd:all>
                <xsd:element ref="ns2:h299cf7589dc4b75bcd2bf9f19243c76" minOccurs="0"/>
                <xsd:element ref="ns2:TaxCatchAll" minOccurs="0"/>
                <xsd:element ref="ns2:TaxCatchAllLabel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c44e8-82e0-472a-a146-da60c58e68e1" elementFormDefault="qualified">
    <xsd:import namespace="http://schemas.microsoft.com/office/2006/documentManagement/types"/>
    <xsd:import namespace="http://schemas.microsoft.com/office/infopath/2007/PartnerControls"/>
    <xsd:element name="h299cf7589dc4b75bcd2bf9f19243c76" ma:index="8" nillable="true" ma:taxonomy="true" ma:internalName="h299cf7589dc4b75bcd2bf9f19243c76" ma:taxonomyFieldName="InformationClassification" ma:displayName="Information Classification" ma:readOnly="false" ma:default="" ma:fieldId="{1299cf75-89dc-4b75-bcd2-bf9f19243c76}" ma:sspId="9bb7800a-9dd4-4efa-9404-7ac564e64633" ma:termSetId="15e70205-4b68-455f-98cc-31f0c369727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d251def-2cf5-4ee4-8762-fa67541bf219}" ma:internalName="TaxCatchAll" ma:showField="CatchAllData" ma:web="5234be68-a953-41a3-87a2-ae7f75ab83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d251def-2cf5-4ee4-8762-fa67541bf219}" ma:internalName="TaxCatchAllLabel" ma:readOnly="true" ma:showField="CatchAllDataLabel" ma:web="5234be68-a953-41a3-87a2-ae7f75ab83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4eedfc-73f5-4c56-9ed0-8189ca2f8c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9AABE0D-8696-4575-9627-E45713FAEBA3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AFBCE00E-75BB-4F60-96C8-6C9AA8CDF59F}">
  <ds:schemaRefs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dcmitype/"/>
    <ds:schemaRef ds:uri="f45196d8-d345-4d19-b276-7560caf3b497"/>
    <ds:schemaRef ds:uri="http://schemas.microsoft.com/office/2006/metadata/properties"/>
    <ds:schemaRef ds:uri="http://purl.org/dc/terms/"/>
    <ds:schemaRef ds:uri="665c44e8-82e0-472a-a146-da60c58e68e1"/>
  </ds:schemaRefs>
</ds:datastoreItem>
</file>

<file path=customXml/itemProps3.xml><?xml version="1.0" encoding="utf-8"?>
<ds:datastoreItem xmlns:ds="http://schemas.openxmlformats.org/officeDocument/2006/customXml" ds:itemID="{888DCC1C-B8C4-496B-80A9-13A9E9C2B06D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46DF9B4B-33B2-4D9F-A3B2-FDE137E0956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5c44e8-82e0-472a-a146-da60c58e68e1"/>
    <ds:schemaRef ds:uri="b34eedfc-73f5-4c56-9ed0-8189ca2f8c3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6112</TotalTime>
  <Words>1665</Words>
  <Application>Microsoft Office PowerPoint</Application>
  <PresentationFormat>Widescreen</PresentationFormat>
  <Paragraphs>378</Paragraphs>
  <Slides>31</Slides>
  <Notes>2</Notes>
  <HiddenSlides>2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2" baseType="lpstr">
      <vt:lpstr>ASML Template 2021</vt:lpstr>
      <vt:lpstr>Limits on leaf switch and ACI MCP protocol</vt:lpstr>
      <vt:lpstr>Background and problem statement</vt:lpstr>
      <vt:lpstr>Already in progress/executed</vt:lpstr>
      <vt:lpstr>Next steps</vt:lpstr>
      <vt:lpstr>Next steps</vt:lpstr>
      <vt:lpstr>ASIS – UCS Uplink connectivity - FXP</vt:lpstr>
      <vt:lpstr>ASIS – UCS uplink connectivity - FXP</vt:lpstr>
      <vt:lpstr>Mid Term Solution 1 </vt:lpstr>
      <vt:lpstr>Mid Term Solution 1 </vt:lpstr>
      <vt:lpstr>Mid Term Solution 2 </vt:lpstr>
      <vt:lpstr>Mid Term Solution 2 </vt:lpstr>
      <vt:lpstr>FXP list in EID and HTC has the problem and Free ports </vt:lpstr>
      <vt:lpstr>Observation</vt:lpstr>
      <vt:lpstr>Config the Uplink ports</vt:lpstr>
      <vt:lpstr>PowerPoint Presentation</vt:lpstr>
      <vt:lpstr>PowerPoint Presentation</vt:lpstr>
      <vt:lpstr>PowerPoint Presentation</vt:lpstr>
      <vt:lpstr>Config the Portchanne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fig the LAN pin group</vt:lpstr>
      <vt:lpstr>PowerPoint Presentation</vt:lpstr>
      <vt:lpstr>PowerPoint Presentation</vt:lpstr>
      <vt:lpstr>PowerPoint Presentation</vt:lpstr>
      <vt:lpstr>Config the vNIC </vt:lpstr>
      <vt:lpstr>PowerPoint Presentation</vt:lpstr>
      <vt:lpstr>Associate the LAN Pin group to the vNIC template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Anandraj Tr</cp:lastModifiedBy>
  <cp:revision>9</cp:revision>
  <dcterms:created xsi:type="dcterms:W3CDTF">2023-03-02T17:29:01Z</dcterms:created>
  <dcterms:modified xsi:type="dcterms:W3CDTF">2024-03-25T08:05:43Z</dcterms:modified>
  <cp:category>Present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4E30EF25F66C4C959BBFBFD5F6CDFF</vt:lpwstr>
  </property>
  <property fmtid="{D5CDD505-2E9C-101B-9397-08002B2CF9AE}" pid="3" name="InformationClassification">
    <vt:lpwstr/>
  </property>
  <property fmtid="{D5CDD505-2E9C-101B-9397-08002B2CF9AE}" pid="4" name="MSIP_Label_1c18959a-f805-4b02-b465-c75c791063b3_Enabled">
    <vt:lpwstr>true</vt:lpwstr>
  </property>
  <property fmtid="{D5CDD505-2E9C-101B-9397-08002B2CF9AE}" pid="5" name="MSIP_Label_1c18959a-f805-4b02-b465-c75c791063b3_SetDate">
    <vt:lpwstr>2024-03-08T13:43:35Z</vt:lpwstr>
  </property>
  <property fmtid="{D5CDD505-2E9C-101B-9397-08002B2CF9AE}" pid="6" name="MSIP_Label_1c18959a-f805-4b02-b465-c75c791063b3_Method">
    <vt:lpwstr>Privileged</vt:lpwstr>
  </property>
  <property fmtid="{D5CDD505-2E9C-101B-9397-08002B2CF9AE}" pid="7" name="MSIP_Label_1c18959a-f805-4b02-b465-c75c791063b3_Name">
    <vt:lpwstr>1c18959a-f805-4b02-b465-c75c791063b3</vt:lpwstr>
  </property>
  <property fmtid="{D5CDD505-2E9C-101B-9397-08002B2CF9AE}" pid="8" name="MSIP_Label_1c18959a-f805-4b02-b465-c75c791063b3_SiteId">
    <vt:lpwstr>af73baa8-f594-4eb2-a39d-93e96cad61fc</vt:lpwstr>
  </property>
  <property fmtid="{D5CDD505-2E9C-101B-9397-08002B2CF9AE}" pid="9" name="MSIP_Label_1c18959a-f805-4b02-b465-c75c791063b3_ActionId">
    <vt:lpwstr>7554fa3e-96c6-47ba-a5c5-bfaeac1f324c</vt:lpwstr>
  </property>
  <property fmtid="{D5CDD505-2E9C-101B-9397-08002B2CF9AE}" pid="10" name="MSIP_Label_1c18959a-f805-4b02-b465-c75c791063b3_ContentBits">
    <vt:lpwstr>2</vt:lpwstr>
  </property>
</Properties>
</file>

<file path=userCustomization/customUI.xml><?xml version="1.0" encoding="utf-8"?>
<mso:customUI xmlns:doc="http://schemas.microsoft.com/office/2006/01/customui/currentDocument" xmlns:mso="http://schemas.microsoft.com/office/2006/01/customui">
  <mso:ribbon>
    <mso:qat>
      <mso:documentControls>
        <mso:control idQ="mso:ClassifyLabelProtect" visible="true"/>
      </mso:documentControls>
    </mso:qat>
  </mso:ribbon>
</mso:customUI>
</file>